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media/image14.jpg" ContentType="image/jpe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6" r:id="rId4"/>
    <p:sldMasterId id="2147483879" r:id="rId5"/>
    <p:sldMasterId id="2147483958" r:id="rId6"/>
  </p:sldMasterIdLst>
  <p:notesMasterIdLst>
    <p:notesMasterId r:id="rId33"/>
  </p:notesMasterIdLst>
  <p:sldIdLst>
    <p:sldId id="2146846959" r:id="rId7"/>
    <p:sldId id="2146847328" r:id="rId8"/>
    <p:sldId id="2146846960" r:id="rId9"/>
    <p:sldId id="2146847388" r:id="rId10"/>
    <p:sldId id="2146847319" r:id="rId11"/>
    <p:sldId id="2146847320" r:id="rId12"/>
    <p:sldId id="2146847387" r:id="rId13"/>
    <p:sldId id="2146847382" r:id="rId14"/>
    <p:sldId id="2146847380" r:id="rId15"/>
    <p:sldId id="2146847375" r:id="rId16"/>
    <p:sldId id="2146847381" r:id="rId17"/>
    <p:sldId id="2146847378" r:id="rId18"/>
    <p:sldId id="2146847376" r:id="rId19"/>
    <p:sldId id="2146847377" r:id="rId20"/>
    <p:sldId id="2146847373" r:id="rId21"/>
    <p:sldId id="2146847374" r:id="rId22"/>
    <p:sldId id="2146847372" r:id="rId23"/>
    <p:sldId id="2146847369" r:id="rId24"/>
    <p:sldId id="2146847370" r:id="rId25"/>
    <p:sldId id="2146847371" r:id="rId26"/>
    <p:sldId id="2146847365" r:id="rId27"/>
    <p:sldId id="2146847363" r:id="rId28"/>
    <p:sldId id="2146847366" r:id="rId29"/>
    <p:sldId id="2146846965" r:id="rId30"/>
    <p:sldId id="2146847386" r:id="rId31"/>
    <p:sldId id="38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48B3759-6711-4336-91A3-3FAD37A98B96}">
          <p14:sldIdLst>
            <p14:sldId id="2146846959"/>
            <p14:sldId id="2146847328"/>
            <p14:sldId id="2146846960"/>
            <p14:sldId id="2146847388"/>
          </p14:sldIdLst>
        </p14:section>
        <p14:section name="Agenda" id="{CB690AD2-DF87-4497-BEDD-FDB83F2DF4EA}">
          <p14:sldIdLst>
            <p14:sldId id="2146847319"/>
          </p14:sldIdLst>
        </p14:section>
        <p14:section name="Logical Application Architecture" id="{A0459A32-27F8-42BC-9317-2EB3533A9C81}">
          <p14:sldIdLst>
            <p14:sldId id="2146847320"/>
            <p14:sldId id="2146847387"/>
            <p14:sldId id="2146847382"/>
            <p14:sldId id="2146847380"/>
            <p14:sldId id="2146847375"/>
            <p14:sldId id="2146847381"/>
            <p14:sldId id="2146847378"/>
            <p14:sldId id="2146847376"/>
            <p14:sldId id="2146847377"/>
            <p14:sldId id="2146847373"/>
            <p14:sldId id="2146847374"/>
            <p14:sldId id="2146847372"/>
            <p14:sldId id="2146847369"/>
            <p14:sldId id="2146847370"/>
            <p14:sldId id="2146847371"/>
            <p14:sldId id="2146847365"/>
            <p14:sldId id="2146847363"/>
            <p14:sldId id="2146847366"/>
            <p14:sldId id="2146846965"/>
            <p14:sldId id="2146847386"/>
            <p14:sldId id="38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ab, Siddhesh S." initials="PSS" lastIdx="43" clrIdx="0">
    <p:extLst>
      <p:ext uri="{19B8F6BF-5375-455C-9EA6-DF929625EA0E}">
        <p15:presenceInfo xmlns:p15="http://schemas.microsoft.com/office/powerpoint/2012/main" userId="S::siddhesh.s.parab@accenture.com::b2d79461-b984-4bbc-8c22-0e28367e587e" providerId="AD"/>
      </p:ext>
    </p:extLst>
  </p:cmAuthor>
  <p:cmAuthor id="2" name="Gunasekaran, Venkat" initials="GV" lastIdx="50" clrIdx="1">
    <p:extLst>
      <p:ext uri="{19B8F6BF-5375-455C-9EA6-DF929625EA0E}">
        <p15:presenceInfo xmlns:p15="http://schemas.microsoft.com/office/powerpoint/2012/main" userId="S::venkat.gunasekaran@accenture.com::beabb786-5522-4e57-9a2a-3b2f50e68109" providerId="AD"/>
      </p:ext>
    </p:extLst>
  </p:cmAuthor>
  <p:cmAuthor id="3" name="Atkar, Devyani Anil" initials="ADA" lastIdx="3" clrIdx="2">
    <p:extLst>
      <p:ext uri="{19B8F6BF-5375-455C-9EA6-DF929625EA0E}">
        <p15:presenceInfo xmlns:p15="http://schemas.microsoft.com/office/powerpoint/2012/main" userId="S::devyani.anil.atkar@accenture.com::30060140-18fd-4dc5-aee4-f2420943b3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FF7D"/>
    <a:srgbClr val="7500C0"/>
    <a:srgbClr val="7F05CC"/>
    <a:srgbClr val="AC05FF"/>
    <a:srgbClr val="D9D9D9"/>
    <a:srgbClr val="FFFFFF"/>
    <a:srgbClr val="F2F2F2"/>
    <a:srgbClr val="ECECEC"/>
    <a:srgbClr val="A9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ma, Aastha" userId="96f0f157-227b-4d54-b8fa-ff7c7fa2a52c" providerId="ADAL" clId="{AA1B5846-5A06-484A-8F13-E61175384FA0}"/>
    <pc:docChg chg="undo custSel modSld">
      <pc:chgData name="Verma, Aastha" userId="96f0f157-227b-4d54-b8fa-ff7c7fa2a52c" providerId="ADAL" clId="{AA1B5846-5A06-484A-8F13-E61175384FA0}" dt="2022-01-24T07:32:41.271" v="97" actId="20577"/>
      <pc:docMkLst>
        <pc:docMk/>
      </pc:docMkLst>
      <pc:sldChg chg="modSp mod">
        <pc:chgData name="Verma, Aastha" userId="96f0f157-227b-4d54-b8fa-ff7c7fa2a52c" providerId="ADAL" clId="{AA1B5846-5A06-484A-8F13-E61175384FA0}" dt="2022-01-24T07:32:41.271" v="97" actId="20577"/>
        <pc:sldMkLst>
          <pc:docMk/>
          <pc:sldMk cId="3900431786" sldId="2146847365"/>
        </pc:sldMkLst>
        <pc:graphicFrameChg chg="modGraphic">
          <ac:chgData name="Verma, Aastha" userId="96f0f157-227b-4d54-b8fa-ff7c7fa2a52c" providerId="ADAL" clId="{AA1B5846-5A06-484A-8F13-E61175384FA0}" dt="2022-01-24T07:32:41.271" v="97" actId="20577"/>
          <ac:graphicFrameMkLst>
            <pc:docMk/>
            <pc:sldMk cId="3900431786" sldId="2146847365"/>
            <ac:graphicFrameMk id="12" creationId="{18069194-4058-49E6-BA4C-7954C0646E61}"/>
          </ac:graphicFrameMkLst>
        </pc:graphicFrameChg>
      </pc:sldChg>
      <pc:sldChg chg="modSp mod">
        <pc:chgData name="Verma, Aastha" userId="96f0f157-227b-4d54-b8fa-ff7c7fa2a52c" providerId="ADAL" clId="{AA1B5846-5A06-484A-8F13-E61175384FA0}" dt="2022-01-24T07:19:44.781" v="23" actId="20577"/>
        <pc:sldMkLst>
          <pc:docMk/>
          <pc:sldMk cId="1964990107" sldId="2146847380"/>
        </pc:sldMkLst>
        <pc:spChg chg="mod">
          <ac:chgData name="Verma, Aastha" userId="96f0f157-227b-4d54-b8fa-ff7c7fa2a52c" providerId="ADAL" clId="{AA1B5846-5A06-484A-8F13-E61175384FA0}" dt="2022-01-24T07:19:30.319" v="15" actId="20577"/>
          <ac:spMkLst>
            <pc:docMk/>
            <pc:sldMk cId="1964990107" sldId="2146847380"/>
            <ac:spMk id="14" creationId="{CC75590A-0B2A-4DC7-8276-6CF0AA6A570B}"/>
          </ac:spMkLst>
        </pc:spChg>
        <pc:spChg chg="mod">
          <ac:chgData name="Verma, Aastha" userId="96f0f157-227b-4d54-b8fa-ff7c7fa2a52c" providerId="ADAL" clId="{AA1B5846-5A06-484A-8F13-E61175384FA0}" dt="2022-01-24T07:19:38.962" v="19" actId="20577"/>
          <ac:spMkLst>
            <pc:docMk/>
            <pc:sldMk cId="1964990107" sldId="2146847380"/>
            <ac:spMk id="26" creationId="{4F7FFED5-22BA-47DE-898F-A456A970819E}"/>
          </ac:spMkLst>
        </pc:spChg>
        <pc:spChg chg="mod">
          <ac:chgData name="Verma, Aastha" userId="96f0f157-227b-4d54-b8fa-ff7c7fa2a52c" providerId="ADAL" clId="{AA1B5846-5A06-484A-8F13-E61175384FA0}" dt="2022-01-24T07:19:44.781" v="23" actId="20577"/>
          <ac:spMkLst>
            <pc:docMk/>
            <pc:sldMk cId="1964990107" sldId="2146847380"/>
            <ac:spMk id="27" creationId="{33A613B4-48EB-4627-B175-58670DFB733D}"/>
          </ac:spMkLst>
        </pc:spChg>
        <pc:graphicFrameChg chg="modGraphic">
          <ac:chgData name="Verma, Aastha" userId="96f0f157-227b-4d54-b8fa-ff7c7fa2a52c" providerId="ADAL" clId="{AA1B5846-5A06-484A-8F13-E61175384FA0}" dt="2022-01-24T07:17:49.421" v="13" actId="20577"/>
          <ac:graphicFrameMkLst>
            <pc:docMk/>
            <pc:sldMk cId="1964990107" sldId="2146847380"/>
            <ac:graphicFrameMk id="15" creationId="{24FDDE7B-7BE6-4EFB-AEF1-669B0772DD9F}"/>
          </ac:graphicFrameMkLst>
        </pc:graphicFrameChg>
      </pc:sldChg>
      <pc:sldChg chg="addSp modSp mod">
        <pc:chgData name="Verma, Aastha" userId="96f0f157-227b-4d54-b8fa-ff7c7fa2a52c" providerId="ADAL" clId="{AA1B5846-5A06-484A-8F13-E61175384FA0}" dt="2022-01-24T07:27:21.249" v="76" actId="20577"/>
        <pc:sldMkLst>
          <pc:docMk/>
          <pc:sldMk cId="1384751485" sldId="2146847381"/>
        </pc:sldMkLst>
        <pc:spChg chg="add mod">
          <ac:chgData name="Verma, Aastha" userId="96f0f157-227b-4d54-b8fa-ff7c7fa2a52c" providerId="ADAL" clId="{AA1B5846-5A06-484A-8F13-E61175384FA0}" dt="2022-01-24T07:26:28.178" v="42"/>
          <ac:spMkLst>
            <pc:docMk/>
            <pc:sldMk cId="1384751485" sldId="2146847381"/>
            <ac:spMk id="10" creationId="{C572F7D5-CCB1-4F03-873B-3A0FBD0FF3EA}"/>
          </ac:spMkLst>
        </pc:spChg>
        <pc:spChg chg="mod">
          <ac:chgData name="Verma, Aastha" userId="96f0f157-227b-4d54-b8fa-ff7c7fa2a52c" providerId="ADAL" clId="{AA1B5846-5A06-484A-8F13-E61175384FA0}" dt="2022-01-24T07:26:36.287" v="43" actId="14100"/>
          <ac:spMkLst>
            <pc:docMk/>
            <pc:sldMk cId="1384751485" sldId="2146847381"/>
            <ac:spMk id="13" creationId="{A2A2B339-34D0-4E4C-A64A-1D4F53CF4E1E}"/>
          </ac:spMkLst>
        </pc:spChg>
        <pc:graphicFrameChg chg="mod modGraphic">
          <ac:chgData name="Verma, Aastha" userId="96f0f157-227b-4d54-b8fa-ff7c7fa2a52c" providerId="ADAL" clId="{AA1B5846-5A06-484A-8F13-E61175384FA0}" dt="2022-01-24T07:27:21.249" v="76" actId="20577"/>
          <ac:graphicFrameMkLst>
            <pc:docMk/>
            <pc:sldMk cId="1384751485" sldId="2146847381"/>
            <ac:graphicFrameMk id="15" creationId="{24FDDE7B-7BE6-4EFB-AEF1-669B0772DD9F}"/>
          </ac:graphicFrameMkLst>
        </pc:graphicFrameChg>
      </pc:sldChg>
      <pc:sldChg chg="modSp mod">
        <pc:chgData name="Verma, Aastha" userId="96f0f157-227b-4d54-b8fa-ff7c7fa2a52c" providerId="ADAL" clId="{AA1B5846-5A06-484A-8F13-E61175384FA0}" dt="2022-01-24T07:29:27.271" v="77" actId="20577"/>
        <pc:sldMkLst>
          <pc:docMk/>
          <pc:sldMk cId="236971706" sldId="2146847387"/>
        </pc:sldMkLst>
        <pc:spChg chg="mod">
          <ac:chgData name="Verma, Aastha" userId="96f0f157-227b-4d54-b8fa-ff7c7fa2a52c" providerId="ADAL" clId="{AA1B5846-5A06-484A-8F13-E61175384FA0}" dt="2022-01-24T07:22:13.657" v="33" actId="20577"/>
          <ac:spMkLst>
            <pc:docMk/>
            <pc:sldMk cId="236971706" sldId="2146847387"/>
            <ac:spMk id="166" creationId="{8FCB4E9E-EDC1-4C7F-A3A1-C0FF5DEF9936}"/>
          </ac:spMkLst>
        </pc:spChg>
        <pc:spChg chg="mod">
          <ac:chgData name="Verma, Aastha" userId="96f0f157-227b-4d54-b8fa-ff7c7fa2a52c" providerId="ADAL" clId="{AA1B5846-5A06-484A-8F13-E61175384FA0}" dt="2022-01-24T07:29:27.271" v="77" actId="20577"/>
          <ac:spMkLst>
            <pc:docMk/>
            <pc:sldMk cId="236971706" sldId="2146847387"/>
            <ac:spMk id="190" creationId="{D7D10A7A-F7C7-4ADF-8DBB-21B88E0A5AFF}"/>
          </ac:spMkLst>
        </pc:spChg>
        <pc:spChg chg="mod">
          <ac:chgData name="Verma, Aastha" userId="96f0f157-227b-4d54-b8fa-ff7c7fa2a52c" providerId="ADAL" clId="{AA1B5846-5A06-484A-8F13-E61175384FA0}" dt="2022-01-24T07:21:18.783" v="25" actId="20577"/>
          <ac:spMkLst>
            <pc:docMk/>
            <pc:sldMk cId="236971706" sldId="2146847387"/>
            <ac:spMk id="200" creationId="{597AB7C4-D222-41EA-A4D1-3474FD7B02C4}"/>
          </ac:spMkLst>
        </pc:spChg>
        <pc:spChg chg="mod">
          <ac:chgData name="Verma, Aastha" userId="96f0f157-227b-4d54-b8fa-ff7c7fa2a52c" providerId="ADAL" clId="{AA1B5846-5A06-484A-8F13-E61175384FA0}" dt="2022-01-24T07:21:22.544" v="26" actId="1076"/>
          <ac:spMkLst>
            <pc:docMk/>
            <pc:sldMk cId="236971706" sldId="2146847387"/>
            <ac:spMk id="212" creationId="{922A745E-7704-4DA9-B522-04002855C37E}"/>
          </ac:spMkLst>
        </pc:spChg>
        <pc:spChg chg="mod">
          <ac:chgData name="Verma, Aastha" userId="96f0f157-227b-4d54-b8fa-ff7c7fa2a52c" providerId="ADAL" clId="{AA1B5846-5A06-484A-8F13-E61175384FA0}" dt="2022-01-24T07:16:04.401" v="1" actId="20577"/>
          <ac:spMkLst>
            <pc:docMk/>
            <pc:sldMk cId="236971706" sldId="2146847387"/>
            <ac:spMk id="282" creationId="{99A48126-9976-470B-B089-F59183561B7D}"/>
          </ac:spMkLst>
        </pc:spChg>
        <pc:spChg chg="mod">
          <ac:chgData name="Verma, Aastha" userId="96f0f157-227b-4d54-b8fa-ff7c7fa2a52c" providerId="ADAL" clId="{AA1B5846-5A06-484A-8F13-E61175384FA0}" dt="2022-01-24T07:16:09.434" v="3" actId="20577"/>
          <ac:spMkLst>
            <pc:docMk/>
            <pc:sldMk cId="236971706" sldId="2146847387"/>
            <ac:spMk id="286" creationId="{77BA0039-B0B4-4B7E-BA3D-DC6D33CAB86A}"/>
          </ac:spMkLst>
        </pc:spChg>
      </pc:sldChg>
    </pc:docChg>
  </pc:docChgLst>
  <pc:docChgLst>
    <pc:chgData name="Srivastava, Ayush" userId="c01b8864-bd8d-4de8-bbf8-20cad289e861" providerId="ADAL" clId="{6515560B-589D-4A66-A240-A163C64A0A04}"/>
    <pc:docChg chg="undo redo custSel addSld delSld modSld sldOrd modMainMaster addSection modSection">
      <pc:chgData name="Srivastava, Ayush" userId="c01b8864-bd8d-4de8-bbf8-20cad289e861" providerId="ADAL" clId="{6515560B-589D-4A66-A240-A163C64A0A04}" dt="2021-08-24T16:37:41.741" v="3428" actId="20577"/>
      <pc:docMkLst>
        <pc:docMk/>
      </pc:docMkLst>
      <pc:sldChg chg="modSp mod">
        <pc:chgData name="Srivastava, Ayush" userId="c01b8864-bd8d-4de8-bbf8-20cad289e861" providerId="ADAL" clId="{6515560B-589D-4A66-A240-A163C64A0A04}" dt="2021-08-24T13:21:25.592" v="1572"/>
        <pc:sldMkLst>
          <pc:docMk/>
          <pc:sldMk cId="3187321782" sldId="270"/>
        </pc:sldMkLst>
        <pc:spChg chg="mod">
          <ac:chgData name="Srivastava, Ayush" userId="c01b8864-bd8d-4de8-bbf8-20cad289e861" providerId="ADAL" clId="{6515560B-589D-4A66-A240-A163C64A0A04}" dt="2021-08-24T13:21:25.592" v="1572"/>
          <ac:spMkLst>
            <pc:docMk/>
            <pc:sldMk cId="3187321782" sldId="270"/>
            <ac:spMk id="275" creationId="{87B07604-B852-427D-9AF9-6FCF8FC8F9E4}"/>
          </ac:spMkLst>
        </pc:spChg>
        <pc:spChg chg="mod">
          <ac:chgData name="Srivastava, Ayush" userId="c01b8864-bd8d-4de8-bbf8-20cad289e861" providerId="ADAL" clId="{6515560B-589D-4A66-A240-A163C64A0A04}" dt="2021-08-24T13:05:58.042" v="1117" actId="6549"/>
          <ac:spMkLst>
            <pc:docMk/>
            <pc:sldMk cId="3187321782" sldId="270"/>
            <ac:spMk id="358" creationId="{C91FC61B-565C-4273-9155-7FBCE5E7BD10}"/>
          </ac:spMkLst>
        </pc:spChg>
        <pc:spChg chg="mod">
          <ac:chgData name="Srivastava, Ayush" userId="c01b8864-bd8d-4de8-bbf8-20cad289e861" providerId="ADAL" clId="{6515560B-589D-4A66-A240-A163C64A0A04}" dt="2021-08-24T13:05:59.896" v="1119" actId="20577"/>
          <ac:spMkLst>
            <pc:docMk/>
            <pc:sldMk cId="3187321782" sldId="270"/>
            <ac:spMk id="369" creationId="{2927EDEE-7B6E-4888-9333-8D34668E62C8}"/>
          </ac:spMkLst>
        </pc:spChg>
      </pc:sldChg>
      <pc:sldChg chg="modSp">
        <pc:chgData name="Srivastava, Ayush" userId="c01b8864-bd8d-4de8-bbf8-20cad289e861" providerId="ADAL" clId="{6515560B-589D-4A66-A240-A163C64A0A04}" dt="2021-08-24T13:21:25.592" v="1572"/>
        <pc:sldMkLst>
          <pc:docMk/>
          <pc:sldMk cId="1716052546" sldId="5225"/>
        </pc:sldMkLst>
        <pc:spChg chg="mod">
          <ac:chgData name="Srivastava, Ayush" userId="c01b8864-bd8d-4de8-bbf8-20cad289e861" providerId="ADAL" clId="{6515560B-589D-4A66-A240-A163C64A0A04}" dt="2021-08-24T13:21:25.592" v="1572"/>
          <ac:spMkLst>
            <pc:docMk/>
            <pc:sldMk cId="1716052546" sldId="5225"/>
            <ac:spMk id="105" creationId="{ECAB44F0-4096-4FCA-AD14-0A99BD964B00}"/>
          </ac:spMkLst>
        </pc:spChg>
      </pc:sldChg>
      <pc:sldChg chg="modSp">
        <pc:chgData name="Srivastava, Ayush" userId="c01b8864-bd8d-4de8-bbf8-20cad289e861" providerId="ADAL" clId="{6515560B-589D-4A66-A240-A163C64A0A04}" dt="2021-08-24T13:21:25.592" v="1572"/>
        <pc:sldMkLst>
          <pc:docMk/>
          <pc:sldMk cId="559528724" sldId="5272"/>
        </pc:sldMkLst>
        <pc:spChg chg="mod">
          <ac:chgData name="Srivastava, Ayush" userId="c01b8864-bd8d-4de8-bbf8-20cad289e861" providerId="ADAL" clId="{6515560B-589D-4A66-A240-A163C64A0A04}" dt="2021-08-24T13:21:25.592" v="1572"/>
          <ac:spMkLst>
            <pc:docMk/>
            <pc:sldMk cId="559528724" sldId="5272"/>
            <ac:spMk id="90" creationId="{3CC1F87A-17D2-4F53-920E-28E9E129902D}"/>
          </ac:spMkLst>
        </pc:spChg>
      </pc:sldChg>
      <pc:sldChg chg="modSp mod">
        <pc:chgData name="Srivastava, Ayush" userId="c01b8864-bd8d-4de8-bbf8-20cad289e861" providerId="ADAL" clId="{6515560B-589D-4A66-A240-A163C64A0A04}" dt="2021-08-24T14:03:56.116" v="2074" actId="14734"/>
        <pc:sldMkLst>
          <pc:docMk/>
          <pc:sldMk cId="1041264545" sldId="2146847335"/>
        </pc:sldMkLst>
        <pc:graphicFrameChg chg="modGraphic">
          <ac:chgData name="Srivastava, Ayush" userId="c01b8864-bd8d-4de8-bbf8-20cad289e861" providerId="ADAL" clId="{6515560B-589D-4A66-A240-A163C64A0A04}" dt="2021-08-24T14:03:56.116" v="2074" actId="14734"/>
          <ac:graphicFrameMkLst>
            <pc:docMk/>
            <pc:sldMk cId="1041264545" sldId="2146847335"/>
            <ac:graphicFrameMk id="13" creationId="{2A77ABE0-8CB7-4A8B-924F-4EA0C83CE8D2}"/>
          </ac:graphicFrameMkLst>
        </pc:graphicFrameChg>
      </pc:sldChg>
      <pc:sldChg chg="modSp">
        <pc:chgData name="Srivastava, Ayush" userId="c01b8864-bd8d-4de8-bbf8-20cad289e861" providerId="ADAL" clId="{6515560B-589D-4A66-A240-A163C64A0A04}" dt="2021-08-24T13:21:25.592" v="1572"/>
        <pc:sldMkLst>
          <pc:docMk/>
          <pc:sldMk cId="3626882665" sldId="2146847341"/>
        </pc:sldMkLst>
        <pc:graphicFrameChg chg="mod">
          <ac:chgData name="Srivastava, Ayush" userId="c01b8864-bd8d-4de8-bbf8-20cad289e861" providerId="ADAL" clId="{6515560B-589D-4A66-A240-A163C64A0A04}" dt="2021-08-24T13:21:25.592" v="1572"/>
          <ac:graphicFrameMkLst>
            <pc:docMk/>
            <pc:sldMk cId="3626882665" sldId="2146847341"/>
            <ac:graphicFrameMk id="13" creationId="{07FAC022-C1C6-4D34-B216-20068CF6ADEC}"/>
          </ac:graphicFrameMkLst>
        </pc:graphicFrameChg>
      </pc:sldChg>
      <pc:sldChg chg="ord">
        <pc:chgData name="Srivastava, Ayush" userId="c01b8864-bd8d-4de8-bbf8-20cad289e861" providerId="ADAL" clId="{6515560B-589D-4A66-A240-A163C64A0A04}" dt="2021-08-24T12:51:12.988" v="1055" actId="20578"/>
        <pc:sldMkLst>
          <pc:docMk/>
          <pc:sldMk cId="37923841" sldId="2146847343"/>
        </pc:sldMkLst>
      </pc:sldChg>
      <pc:sldChg chg="modSp">
        <pc:chgData name="Srivastava, Ayush" userId="c01b8864-bd8d-4de8-bbf8-20cad289e861" providerId="ADAL" clId="{6515560B-589D-4A66-A240-A163C64A0A04}" dt="2021-08-24T13:21:25.592" v="1572"/>
        <pc:sldMkLst>
          <pc:docMk/>
          <pc:sldMk cId="3885648536" sldId="2146847347"/>
        </pc:sldMkLst>
        <pc:graphicFrameChg chg="mod">
          <ac:chgData name="Srivastava, Ayush" userId="c01b8864-bd8d-4de8-bbf8-20cad289e861" providerId="ADAL" clId="{6515560B-589D-4A66-A240-A163C64A0A04}" dt="2021-08-24T13:21:25.592" v="1572"/>
          <ac:graphicFrameMkLst>
            <pc:docMk/>
            <pc:sldMk cId="3885648536" sldId="2146847347"/>
            <ac:graphicFrameMk id="15" creationId="{24FDDE7B-7BE6-4EFB-AEF1-669B0772DD9F}"/>
          </ac:graphicFrameMkLst>
        </pc:graphicFrameChg>
      </pc:sldChg>
      <pc:sldChg chg="modSp">
        <pc:chgData name="Srivastava, Ayush" userId="c01b8864-bd8d-4de8-bbf8-20cad289e861" providerId="ADAL" clId="{6515560B-589D-4A66-A240-A163C64A0A04}" dt="2021-08-24T13:21:25.592" v="1572"/>
        <pc:sldMkLst>
          <pc:docMk/>
          <pc:sldMk cId="836368788" sldId="2146847349"/>
        </pc:sldMkLst>
        <pc:graphicFrameChg chg="mod">
          <ac:chgData name="Srivastava, Ayush" userId="c01b8864-bd8d-4de8-bbf8-20cad289e861" providerId="ADAL" clId="{6515560B-589D-4A66-A240-A163C64A0A04}" dt="2021-08-24T13:21:25.592" v="1572"/>
          <ac:graphicFrameMkLst>
            <pc:docMk/>
            <pc:sldMk cId="836368788" sldId="2146847349"/>
            <ac:graphicFrameMk id="13" creationId="{E1D6C4B5-254E-4047-A991-6D4968ADE379}"/>
          </ac:graphicFrameMkLst>
        </pc:graphicFrameChg>
      </pc:sldChg>
      <pc:sldChg chg="modSp">
        <pc:chgData name="Srivastava, Ayush" userId="c01b8864-bd8d-4de8-bbf8-20cad289e861" providerId="ADAL" clId="{6515560B-589D-4A66-A240-A163C64A0A04}" dt="2021-08-24T13:21:25.592" v="1572"/>
        <pc:sldMkLst>
          <pc:docMk/>
          <pc:sldMk cId="1338665722" sldId="2146847351"/>
        </pc:sldMkLst>
        <pc:graphicFrameChg chg="mod">
          <ac:chgData name="Srivastava, Ayush" userId="c01b8864-bd8d-4de8-bbf8-20cad289e861" providerId="ADAL" clId="{6515560B-589D-4A66-A240-A163C64A0A04}" dt="2021-08-24T13:21:25.592" v="1572"/>
          <ac:graphicFrameMkLst>
            <pc:docMk/>
            <pc:sldMk cId="1338665722" sldId="2146847351"/>
            <ac:graphicFrameMk id="14" creationId="{F0423E4E-7FAD-4AB3-99B2-F24577B59D66}"/>
          </ac:graphicFrameMkLst>
        </pc:graphicFrameChg>
      </pc:sldChg>
      <pc:sldChg chg="modSp">
        <pc:chgData name="Srivastava, Ayush" userId="c01b8864-bd8d-4de8-bbf8-20cad289e861" providerId="ADAL" clId="{6515560B-589D-4A66-A240-A163C64A0A04}" dt="2021-08-24T13:21:25.592" v="1572"/>
        <pc:sldMkLst>
          <pc:docMk/>
          <pc:sldMk cId="798288387" sldId="2146847353"/>
        </pc:sldMkLst>
        <pc:spChg chg="mod">
          <ac:chgData name="Srivastava, Ayush" userId="c01b8864-bd8d-4de8-bbf8-20cad289e861" providerId="ADAL" clId="{6515560B-589D-4A66-A240-A163C64A0A04}" dt="2021-08-24T13:21:25.592" v="1572"/>
          <ac:spMkLst>
            <pc:docMk/>
            <pc:sldMk cId="798288387" sldId="2146847353"/>
            <ac:spMk id="4" creationId="{B38B14AF-B49F-41F5-8E26-05096D2E63C3}"/>
          </ac:spMkLst>
        </pc:spChg>
        <pc:graphicFrameChg chg="mod">
          <ac:chgData name="Srivastava, Ayush" userId="c01b8864-bd8d-4de8-bbf8-20cad289e861" providerId="ADAL" clId="{6515560B-589D-4A66-A240-A163C64A0A04}" dt="2021-08-24T13:21:25.592" v="1572"/>
          <ac:graphicFrameMkLst>
            <pc:docMk/>
            <pc:sldMk cId="798288387" sldId="2146847353"/>
            <ac:graphicFrameMk id="23" creationId="{B74133A7-F3E1-4784-9567-04A09AB646D7}"/>
          </ac:graphicFrameMkLst>
        </pc:graphicFrameChg>
      </pc:sldChg>
      <pc:sldChg chg="addSp delSp modSp add mod modClrScheme chgLayout">
        <pc:chgData name="Srivastava, Ayush" userId="c01b8864-bd8d-4de8-bbf8-20cad289e861" providerId="ADAL" clId="{6515560B-589D-4A66-A240-A163C64A0A04}" dt="2021-08-24T16:14:54.233" v="3340" actId="2711"/>
        <pc:sldMkLst>
          <pc:docMk/>
          <pc:sldMk cId="1760734549" sldId="2146847363"/>
        </pc:sldMkLst>
        <pc:spChg chg="mod ord">
          <ac:chgData name="Srivastava, Ayush" userId="c01b8864-bd8d-4de8-bbf8-20cad289e861" providerId="ADAL" clId="{6515560B-589D-4A66-A240-A163C64A0A04}" dt="2021-08-24T15:24:50.321" v="2601" actId="207"/>
          <ac:spMkLst>
            <pc:docMk/>
            <pc:sldMk cId="1760734549" sldId="2146847363"/>
            <ac:spMk id="2" creationId="{98DEF4BE-89FE-4B38-9249-A50705FB9524}"/>
          </ac:spMkLst>
        </pc:spChg>
        <pc:spChg chg="mod ord">
          <ac:chgData name="Srivastava, Ayush" userId="c01b8864-bd8d-4de8-bbf8-20cad289e861" providerId="ADAL" clId="{6515560B-589D-4A66-A240-A163C64A0A04}" dt="2021-08-24T11:48:36.960" v="4" actId="700"/>
          <ac:spMkLst>
            <pc:docMk/>
            <pc:sldMk cId="1760734549" sldId="2146847363"/>
            <ac:spMk id="3" creationId="{42401A20-AC24-4EEE-B260-DC60B84A3BEF}"/>
          </ac:spMkLst>
        </pc:spChg>
        <pc:spChg chg="mod ord">
          <ac:chgData name="Srivastava, Ayush" userId="c01b8864-bd8d-4de8-bbf8-20cad289e861" providerId="ADAL" clId="{6515560B-589D-4A66-A240-A163C64A0A04}" dt="2021-08-24T15:16:01.512" v="2481" actId="1035"/>
          <ac:spMkLst>
            <pc:docMk/>
            <pc:sldMk cId="1760734549" sldId="2146847363"/>
            <ac:spMk id="4" creationId="{B38B14AF-B49F-41F5-8E26-05096D2E63C3}"/>
          </ac:spMkLst>
        </pc:spChg>
        <pc:spChg chg="mod">
          <ac:chgData name="Srivastava, Ayush" userId="c01b8864-bd8d-4de8-bbf8-20cad289e861" providerId="ADAL" clId="{6515560B-589D-4A66-A240-A163C64A0A04}" dt="2021-08-24T15:15:40.265" v="2471" actId="1036"/>
          <ac:spMkLst>
            <pc:docMk/>
            <pc:sldMk cId="1760734549" sldId="2146847363"/>
            <ac:spMk id="13" creationId="{D77DC8D4-9E3B-4E17-82AD-FD6C83141CDD}"/>
          </ac:spMkLst>
        </pc:spChg>
        <pc:spChg chg="add mod">
          <ac:chgData name="Srivastava, Ayush" userId="c01b8864-bd8d-4de8-bbf8-20cad289e861" providerId="ADAL" clId="{6515560B-589D-4A66-A240-A163C64A0A04}" dt="2021-08-24T15:15:40.265" v="2471" actId="1036"/>
          <ac:spMkLst>
            <pc:docMk/>
            <pc:sldMk cId="1760734549" sldId="2146847363"/>
            <ac:spMk id="14" creationId="{4C76733A-C760-4BDA-A080-3216B1126CAA}"/>
          </ac:spMkLst>
        </pc:spChg>
        <pc:spChg chg="add mod">
          <ac:chgData name="Srivastava, Ayush" userId="c01b8864-bd8d-4de8-bbf8-20cad289e861" providerId="ADAL" clId="{6515560B-589D-4A66-A240-A163C64A0A04}" dt="2021-08-24T15:15:40.265" v="2471" actId="1036"/>
          <ac:spMkLst>
            <pc:docMk/>
            <pc:sldMk cId="1760734549" sldId="2146847363"/>
            <ac:spMk id="15" creationId="{544DE2AC-7B58-4A86-A0F9-1BDC883F2C85}"/>
          </ac:spMkLst>
        </pc:spChg>
        <pc:spChg chg="add del mod">
          <ac:chgData name="Srivastava, Ayush" userId="c01b8864-bd8d-4de8-bbf8-20cad289e861" providerId="ADAL" clId="{6515560B-589D-4A66-A240-A163C64A0A04}" dt="2021-08-24T12:33:35.538" v="466" actId="478"/>
          <ac:spMkLst>
            <pc:docMk/>
            <pc:sldMk cId="1760734549" sldId="2146847363"/>
            <ac:spMk id="16" creationId="{2C92A6A2-0B68-41E0-8407-FD90D39645D6}"/>
          </ac:spMkLst>
        </pc:spChg>
        <pc:spChg chg="del mod">
          <ac:chgData name="Srivastava, Ayush" userId="c01b8864-bd8d-4de8-bbf8-20cad289e861" providerId="ADAL" clId="{6515560B-589D-4A66-A240-A163C64A0A04}" dt="2021-08-24T12:26:22.276" v="280" actId="478"/>
          <ac:spMkLst>
            <pc:docMk/>
            <pc:sldMk cId="1760734549" sldId="2146847363"/>
            <ac:spMk id="17" creationId="{457DA30F-E44C-4794-BBCC-DB1C3C05385C}"/>
          </ac:spMkLst>
        </pc:spChg>
        <pc:spChg chg="del mod">
          <ac:chgData name="Srivastava, Ayush" userId="c01b8864-bd8d-4de8-bbf8-20cad289e861" providerId="ADAL" clId="{6515560B-589D-4A66-A240-A163C64A0A04}" dt="2021-08-24T12:12:16.516" v="58" actId="478"/>
          <ac:spMkLst>
            <pc:docMk/>
            <pc:sldMk cId="1760734549" sldId="2146847363"/>
            <ac:spMk id="18" creationId="{6DCD672F-6B55-48C7-BED4-3FADEEC20E66}"/>
          </ac:spMkLst>
        </pc:spChg>
        <pc:spChg chg="mod">
          <ac:chgData name="Srivastava, Ayush" userId="c01b8864-bd8d-4de8-bbf8-20cad289e861" providerId="ADAL" clId="{6515560B-589D-4A66-A240-A163C64A0A04}" dt="2021-08-24T15:15:40.265" v="2471" actId="1036"/>
          <ac:spMkLst>
            <pc:docMk/>
            <pc:sldMk cId="1760734549" sldId="2146847363"/>
            <ac:spMk id="19" creationId="{B83DA935-4FC8-41C1-92AE-C313A09EF61D}"/>
          </ac:spMkLst>
        </pc:spChg>
        <pc:spChg chg="add del mod">
          <ac:chgData name="Srivastava, Ayush" userId="c01b8864-bd8d-4de8-bbf8-20cad289e861" providerId="ADAL" clId="{6515560B-589D-4A66-A240-A163C64A0A04}" dt="2021-08-24T12:33:35.538" v="466" actId="478"/>
          <ac:spMkLst>
            <pc:docMk/>
            <pc:sldMk cId="1760734549" sldId="2146847363"/>
            <ac:spMk id="20" creationId="{F462ADE1-FA50-49E7-BBA7-823C2F991771}"/>
          </ac:spMkLst>
        </pc:spChg>
        <pc:spChg chg="add del mod">
          <ac:chgData name="Srivastava, Ayush" userId="c01b8864-bd8d-4de8-bbf8-20cad289e861" providerId="ADAL" clId="{6515560B-589D-4A66-A240-A163C64A0A04}" dt="2021-08-24T12:33:35.538" v="466" actId="478"/>
          <ac:spMkLst>
            <pc:docMk/>
            <pc:sldMk cId="1760734549" sldId="2146847363"/>
            <ac:spMk id="21" creationId="{AD2F5E79-6AFA-4D7E-B6B6-9D4F66FD9A93}"/>
          </ac:spMkLst>
        </pc:spChg>
        <pc:spChg chg="add del mod">
          <ac:chgData name="Srivastava, Ayush" userId="c01b8864-bd8d-4de8-bbf8-20cad289e861" providerId="ADAL" clId="{6515560B-589D-4A66-A240-A163C64A0A04}" dt="2021-08-24T12:33:35.538" v="466" actId="478"/>
          <ac:spMkLst>
            <pc:docMk/>
            <pc:sldMk cId="1760734549" sldId="2146847363"/>
            <ac:spMk id="22" creationId="{952E5FCC-E4AF-455F-AEA1-D0925B11FD90}"/>
          </ac:spMkLst>
        </pc:spChg>
        <pc:spChg chg="add del mod">
          <ac:chgData name="Srivastava, Ayush" userId="c01b8864-bd8d-4de8-bbf8-20cad289e861" providerId="ADAL" clId="{6515560B-589D-4A66-A240-A163C64A0A04}" dt="2021-08-24T12:33:35.538" v="466" actId="478"/>
          <ac:spMkLst>
            <pc:docMk/>
            <pc:sldMk cId="1760734549" sldId="2146847363"/>
            <ac:spMk id="23" creationId="{D873EC5E-6FE9-4790-AD55-0D451AAEAD0A}"/>
          </ac:spMkLst>
        </pc:spChg>
        <pc:spChg chg="del mod">
          <ac:chgData name="Srivastava, Ayush" userId="c01b8864-bd8d-4de8-bbf8-20cad289e861" providerId="ADAL" clId="{6515560B-589D-4A66-A240-A163C64A0A04}" dt="2021-08-24T12:26:22.276" v="280" actId="478"/>
          <ac:spMkLst>
            <pc:docMk/>
            <pc:sldMk cId="1760734549" sldId="2146847363"/>
            <ac:spMk id="24" creationId="{64ABC8C5-9B44-4552-89D8-2F34B680A9B0}"/>
          </ac:spMkLst>
        </pc:spChg>
        <pc:spChg chg="del mod">
          <ac:chgData name="Srivastava, Ayush" userId="c01b8864-bd8d-4de8-bbf8-20cad289e861" providerId="ADAL" clId="{6515560B-589D-4A66-A240-A163C64A0A04}" dt="2021-08-24T12:26:22.276" v="280" actId="478"/>
          <ac:spMkLst>
            <pc:docMk/>
            <pc:sldMk cId="1760734549" sldId="2146847363"/>
            <ac:spMk id="25" creationId="{555A3D24-3F89-4F36-BB5C-740CDBCDB55F}"/>
          </ac:spMkLst>
        </pc:spChg>
        <pc:spChg chg="del mod">
          <ac:chgData name="Srivastava, Ayush" userId="c01b8864-bd8d-4de8-bbf8-20cad289e861" providerId="ADAL" clId="{6515560B-589D-4A66-A240-A163C64A0A04}" dt="2021-08-24T12:26:22.276" v="280" actId="478"/>
          <ac:spMkLst>
            <pc:docMk/>
            <pc:sldMk cId="1760734549" sldId="2146847363"/>
            <ac:spMk id="26" creationId="{EA6F4140-BC72-44D1-8BC6-54A3D8FC06C1}"/>
          </ac:spMkLst>
        </pc:spChg>
        <pc:spChg chg="add del mod">
          <ac:chgData name="Srivastava, Ayush" userId="c01b8864-bd8d-4de8-bbf8-20cad289e861" providerId="ADAL" clId="{6515560B-589D-4A66-A240-A163C64A0A04}" dt="2021-08-24T12:33:35.538" v="466" actId="478"/>
          <ac:spMkLst>
            <pc:docMk/>
            <pc:sldMk cId="1760734549" sldId="2146847363"/>
            <ac:spMk id="27" creationId="{E979F37B-B9BF-460F-8CC4-9A3970B913FB}"/>
          </ac:spMkLst>
        </pc:spChg>
        <pc:spChg chg="add del mod">
          <ac:chgData name="Srivastava, Ayush" userId="c01b8864-bd8d-4de8-bbf8-20cad289e861" providerId="ADAL" clId="{6515560B-589D-4A66-A240-A163C64A0A04}" dt="2021-08-24T12:33:35.538" v="466" actId="478"/>
          <ac:spMkLst>
            <pc:docMk/>
            <pc:sldMk cId="1760734549" sldId="2146847363"/>
            <ac:spMk id="28" creationId="{54DF56BF-0EBF-4FD7-9125-D5FAE896C26F}"/>
          </ac:spMkLst>
        </pc:spChg>
        <pc:spChg chg="add del mod">
          <ac:chgData name="Srivastava, Ayush" userId="c01b8864-bd8d-4de8-bbf8-20cad289e861" providerId="ADAL" clId="{6515560B-589D-4A66-A240-A163C64A0A04}" dt="2021-08-24T12:33:35.538" v="466" actId="478"/>
          <ac:spMkLst>
            <pc:docMk/>
            <pc:sldMk cId="1760734549" sldId="2146847363"/>
            <ac:spMk id="29" creationId="{0CAF5AA4-9D46-4671-9FFF-672DA826BB15}"/>
          </ac:spMkLst>
        </pc:spChg>
        <pc:spChg chg="add del mod">
          <ac:chgData name="Srivastava, Ayush" userId="c01b8864-bd8d-4de8-bbf8-20cad289e861" providerId="ADAL" clId="{6515560B-589D-4A66-A240-A163C64A0A04}" dt="2021-08-24T12:33:35.538" v="466" actId="478"/>
          <ac:spMkLst>
            <pc:docMk/>
            <pc:sldMk cId="1760734549" sldId="2146847363"/>
            <ac:spMk id="30" creationId="{0F96C950-987E-42BF-BBF8-1F54418C40CE}"/>
          </ac:spMkLst>
        </pc:spChg>
        <pc:spChg chg="add del mod">
          <ac:chgData name="Srivastava, Ayush" userId="c01b8864-bd8d-4de8-bbf8-20cad289e861" providerId="ADAL" clId="{6515560B-589D-4A66-A240-A163C64A0A04}" dt="2021-08-24T12:33:35.538" v="466" actId="478"/>
          <ac:spMkLst>
            <pc:docMk/>
            <pc:sldMk cId="1760734549" sldId="2146847363"/>
            <ac:spMk id="31" creationId="{43CB71FE-EC78-4FBC-BB48-20609765EC0C}"/>
          </ac:spMkLst>
        </pc:spChg>
        <pc:spChg chg="add del mod">
          <ac:chgData name="Srivastava, Ayush" userId="c01b8864-bd8d-4de8-bbf8-20cad289e861" providerId="ADAL" clId="{6515560B-589D-4A66-A240-A163C64A0A04}" dt="2021-08-24T12:33:35.538" v="466" actId="478"/>
          <ac:spMkLst>
            <pc:docMk/>
            <pc:sldMk cId="1760734549" sldId="2146847363"/>
            <ac:spMk id="32" creationId="{BA7F1A34-BB23-403F-9427-282764681AD6}"/>
          </ac:spMkLst>
        </pc:spChg>
        <pc:spChg chg="add mod">
          <ac:chgData name="Srivastava, Ayush" userId="c01b8864-bd8d-4de8-bbf8-20cad289e861" providerId="ADAL" clId="{6515560B-589D-4A66-A240-A163C64A0A04}" dt="2021-08-24T15:15:40.265" v="2471" actId="1036"/>
          <ac:spMkLst>
            <pc:docMk/>
            <pc:sldMk cId="1760734549" sldId="2146847363"/>
            <ac:spMk id="33" creationId="{54FD6896-CB7B-4246-8EE6-167FEC047C04}"/>
          </ac:spMkLst>
        </pc:spChg>
        <pc:spChg chg="add mod">
          <ac:chgData name="Srivastava, Ayush" userId="c01b8864-bd8d-4de8-bbf8-20cad289e861" providerId="ADAL" clId="{6515560B-589D-4A66-A240-A163C64A0A04}" dt="2021-08-24T15:15:40.265" v="2471" actId="1036"/>
          <ac:spMkLst>
            <pc:docMk/>
            <pc:sldMk cId="1760734549" sldId="2146847363"/>
            <ac:spMk id="34" creationId="{A1AE4217-AA23-448A-9004-B8AFA0C93F54}"/>
          </ac:spMkLst>
        </pc:spChg>
        <pc:spChg chg="add mod">
          <ac:chgData name="Srivastava, Ayush" userId="c01b8864-bd8d-4de8-bbf8-20cad289e861" providerId="ADAL" clId="{6515560B-589D-4A66-A240-A163C64A0A04}" dt="2021-08-24T15:15:40.265" v="2471" actId="1036"/>
          <ac:spMkLst>
            <pc:docMk/>
            <pc:sldMk cId="1760734549" sldId="2146847363"/>
            <ac:spMk id="35" creationId="{4E58F28A-8086-4215-ADA6-DD66FC3BE587}"/>
          </ac:spMkLst>
        </pc:spChg>
        <pc:spChg chg="add mod">
          <ac:chgData name="Srivastava, Ayush" userId="c01b8864-bd8d-4de8-bbf8-20cad289e861" providerId="ADAL" clId="{6515560B-589D-4A66-A240-A163C64A0A04}" dt="2021-08-24T15:15:40.265" v="2471" actId="1036"/>
          <ac:spMkLst>
            <pc:docMk/>
            <pc:sldMk cId="1760734549" sldId="2146847363"/>
            <ac:spMk id="36" creationId="{CB920E0A-295B-47B9-882B-000DCDD20F18}"/>
          </ac:spMkLst>
        </pc:spChg>
        <pc:spChg chg="add mod">
          <ac:chgData name="Srivastava, Ayush" userId="c01b8864-bd8d-4de8-bbf8-20cad289e861" providerId="ADAL" clId="{6515560B-589D-4A66-A240-A163C64A0A04}" dt="2021-08-24T15:15:40.265" v="2471" actId="1036"/>
          <ac:spMkLst>
            <pc:docMk/>
            <pc:sldMk cId="1760734549" sldId="2146847363"/>
            <ac:spMk id="37" creationId="{CB4B2606-EC40-4D1B-B58C-4FDFB1D0414B}"/>
          </ac:spMkLst>
        </pc:spChg>
        <pc:spChg chg="add mod">
          <ac:chgData name="Srivastava, Ayush" userId="c01b8864-bd8d-4de8-bbf8-20cad289e861" providerId="ADAL" clId="{6515560B-589D-4A66-A240-A163C64A0A04}" dt="2021-08-24T15:15:40.265" v="2471" actId="1036"/>
          <ac:spMkLst>
            <pc:docMk/>
            <pc:sldMk cId="1760734549" sldId="2146847363"/>
            <ac:spMk id="38" creationId="{6CBD3D34-1F88-429C-8139-BBC6860F2CCA}"/>
          </ac:spMkLst>
        </pc:spChg>
        <pc:spChg chg="add mod">
          <ac:chgData name="Srivastava, Ayush" userId="c01b8864-bd8d-4de8-bbf8-20cad289e861" providerId="ADAL" clId="{6515560B-589D-4A66-A240-A163C64A0A04}" dt="2021-08-24T15:15:40.265" v="2471" actId="1036"/>
          <ac:spMkLst>
            <pc:docMk/>
            <pc:sldMk cId="1760734549" sldId="2146847363"/>
            <ac:spMk id="39" creationId="{39563CEA-1065-4C65-B3B4-F5C56F2AD955}"/>
          </ac:spMkLst>
        </pc:spChg>
        <pc:spChg chg="add mod">
          <ac:chgData name="Srivastava, Ayush" userId="c01b8864-bd8d-4de8-bbf8-20cad289e861" providerId="ADAL" clId="{6515560B-589D-4A66-A240-A163C64A0A04}" dt="2021-08-24T15:15:40.265" v="2471" actId="1036"/>
          <ac:spMkLst>
            <pc:docMk/>
            <pc:sldMk cId="1760734549" sldId="2146847363"/>
            <ac:spMk id="40" creationId="{183A160A-C927-4E65-9068-A85095B865DA}"/>
          </ac:spMkLst>
        </pc:spChg>
        <pc:spChg chg="add mod">
          <ac:chgData name="Srivastava, Ayush" userId="c01b8864-bd8d-4de8-bbf8-20cad289e861" providerId="ADAL" clId="{6515560B-589D-4A66-A240-A163C64A0A04}" dt="2021-08-24T15:15:40.265" v="2471" actId="1036"/>
          <ac:spMkLst>
            <pc:docMk/>
            <pc:sldMk cId="1760734549" sldId="2146847363"/>
            <ac:spMk id="41" creationId="{D93E3073-9D08-43FF-90D0-46923245C628}"/>
          </ac:spMkLst>
        </pc:spChg>
        <pc:spChg chg="add mod">
          <ac:chgData name="Srivastava, Ayush" userId="c01b8864-bd8d-4de8-bbf8-20cad289e861" providerId="ADAL" clId="{6515560B-589D-4A66-A240-A163C64A0A04}" dt="2021-08-24T15:15:40.265" v="2471" actId="1036"/>
          <ac:spMkLst>
            <pc:docMk/>
            <pc:sldMk cId="1760734549" sldId="2146847363"/>
            <ac:spMk id="42" creationId="{6139345E-9A9B-42F1-9331-546A707AC335}"/>
          </ac:spMkLst>
        </pc:spChg>
        <pc:spChg chg="add mod">
          <ac:chgData name="Srivastava, Ayush" userId="c01b8864-bd8d-4de8-bbf8-20cad289e861" providerId="ADAL" clId="{6515560B-589D-4A66-A240-A163C64A0A04}" dt="2021-08-24T15:15:40.265" v="2471" actId="1036"/>
          <ac:spMkLst>
            <pc:docMk/>
            <pc:sldMk cId="1760734549" sldId="2146847363"/>
            <ac:spMk id="43" creationId="{B8281765-7A6B-4747-AAE2-86B1472B8C8F}"/>
          </ac:spMkLst>
        </pc:spChg>
        <pc:graphicFrameChg chg="mod modGraphic">
          <ac:chgData name="Srivastava, Ayush" userId="c01b8864-bd8d-4de8-bbf8-20cad289e861" providerId="ADAL" clId="{6515560B-589D-4A66-A240-A163C64A0A04}" dt="2021-08-24T16:14:54.233" v="3340" actId="2711"/>
          <ac:graphicFrameMkLst>
            <pc:docMk/>
            <pc:sldMk cId="1760734549" sldId="2146847363"/>
            <ac:graphicFrameMk id="12" creationId="{18069194-4058-49E6-BA4C-7954C0646E61}"/>
          </ac:graphicFrameMkLst>
        </pc:graphicFrameChg>
      </pc:sldChg>
      <pc:sldChg chg="modSp add del mod">
        <pc:chgData name="Srivastava, Ayush" userId="c01b8864-bd8d-4de8-bbf8-20cad289e861" providerId="ADAL" clId="{6515560B-589D-4A66-A240-A163C64A0A04}" dt="2021-08-24T12:24:37.617" v="246" actId="47"/>
        <pc:sldMkLst>
          <pc:docMk/>
          <pc:sldMk cId="1472577167" sldId="2146847364"/>
        </pc:sldMkLst>
        <pc:spChg chg="mod">
          <ac:chgData name="Srivastava, Ayush" userId="c01b8864-bd8d-4de8-bbf8-20cad289e861" providerId="ADAL" clId="{6515560B-589D-4A66-A240-A163C64A0A04}" dt="2021-08-24T12:23:32.717" v="232" actId="20577"/>
          <ac:spMkLst>
            <pc:docMk/>
            <pc:sldMk cId="1472577167" sldId="2146847364"/>
            <ac:spMk id="2" creationId="{98DEF4BE-89FE-4B38-9249-A50705FB9524}"/>
          </ac:spMkLst>
        </pc:spChg>
      </pc:sldChg>
      <pc:sldChg chg="add del">
        <pc:chgData name="Srivastava, Ayush" userId="c01b8864-bd8d-4de8-bbf8-20cad289e861" providerId="ADAL" clId="{6515560B-589D-4A66-A240-A163C64A0A04}" dt="2021-08-24T12:10:57.159" v="41"/>
        <pc:sldMkLst>
          <pc:docMk/>
          <pc:sldMk cId="3806739663" sldId="2146847364"/>
        </pc:sldMkLst>
      </pc:sldChg>
      <pc:sldChg chg="modSp add mod ord">
        <pc:chgData name="Srivastava, Ayush" userId="c01b8864-bd8d-4de8-bbf8-20cad289e861" providerId="ADAL" clId="{6515560B-589D-4A66-A240-A163C64A0A04}" dt="2021-08-24T16:15:04.310" v="3341" actId="2711"/>
        <pc:sldMkLst>
          <pc:docMk/>
          <pc:sldMk cId="3900431786" sldId="2146847365"/>
        </pc:sldMkLst>
        <pc:spChg chg="mod">
          <ac:chgData name="Srivastava, Ayush" userId="c01b8864-bd8d-4de8-bbf8-20cad289e861" providerId="ADAL" clId="{6515560B-589D-4A66-A240-A163C64A0A04}" dt="2021-08-24T15:24:45.211" v="2599" actId="207"/>
          <ac:spMkLst>
            <pc:docMk/>
            <pc:sldMk cId="3900431786" sldId="2146847365"/>
            <ac:spMk id="2" creationId="{98DEF4BE-89FE-4B38-9249-A50705FB9524}"/>
          </ac:spMkLst>
        </pc:spChg>
        <pc:spChg chg="mod">
          <ac:chgData name="Srivastava, Ayush" userId="c01b8864-bd8d-4de8-bbf8-20cad289e861" providerId="ADAL" clId="{6515560B-589D-4A66-A240-A163C64A0A04}" dt="2021-08-24T12:30:12.136" v="334" actId="14100"/>
          <ac:spMkLst>
            <pc:docMk/>
            <pc:sldMk cId="3900431786" sldId="2146847365"/>
            <ac:spMk id="4" creationId="{B38B14AF-B49F-41F5-8E26-05096D2E63C3}"/>
          </ac:spMkLst>
        </pc:spChg>
        <pc:spChg chg="mod">
          <ac:chgData name="Srivastava, Ayush" userId="c01b8864-bd8d-4de8-bbf8-20cad289e861" providerId="ADAL" clId="{6515560B-589D-4A66-A240-A163C64A0A04}" dt="2021-08-24T13:37:17.784" v="1795" actId="14861"/>
          <ac:spMkLst>
            <pc:docMk/>
            <pc:sldMk cId="3900431786" sldId="2146847365"/>
            <ac:spMk id="13" creationId="{D77DC8D4-9E3B-4E17-82AD-FD6C83141CDD}"/>
          </ac:spMkLst>
        </pc:spChg>
        <pc:spChg chg="mod">
          <ac:chgData name="Srivastava, Ayush" userId="c01b8864-bd8d-4de8-bbf8-20cad289e861" providerId="ADAL" clId="{6515560B-589D-4A66-A240-A163C64A0A04}" dt="2021-08-24T13:39:07.586" v="1823" actId="403"/>
          <ac:spMkLst>
            <pc:docMk/>
            <pc:sldMk cId="3900431786" sldId="2146847365"/>
            <ac:spMk id="17" creationId="{457DA30F-E44C-4794-BBCC-DB1C3C05385C}"/>
          </ac:spMkLst>
        </pc:spChg>
        <pc:spChg chg="mod">
          <ac:chgData name="Srivastava, Ayush" userId="c01b8864-bd8d-4de8-bbf8-20cad289e861" providerId="ADAL" clId="{6515560B-589D-4A66-A240-A163C64A0A04}" dt="2021-08-24T13:39:07.586" v="1823" actId="403"/>
          <ac:spMkLst>
            <pc:docMk/>
            <pc:sldMk cId="3900431786" sldId="2146847365"/>
            <ac:spMk id="19" creationId="{B83DA935-4FC8-41C1-92AE-C313A09EF61D}"/>
          </ac:spMkLst>
        </pc:spChg>
        <pc:spChg chg="mod">
          <ac:chgData name="Srivastava, Ayush" userId="c01b8864-bd8d-4de8-bbf8-20cad289e861" providerId="ADAL" clId="{6515560B-589D-4A66-A240-A163C64A0A04}" dt="2021-08-24T13:39:07.586" v="1823" actId="403"/>
          <ac:spMkLst>
            <pc:docMk/>
            <pc:sldMk cId="3900431786" sldId="2146847365"/>
            <ac:spMk id="24" creationId="{64ABC8C5-9B44-4552-89D8-2F34B680A9B0}"/>
          </ac:spMkLst>
        </pc:spChg>
        <pc:spChg chg="mod">
          <ac:chgData name="Srivastava, Ayush" userId="c01b8864-bd8d-4de8-bbf8-20cad289e861" providerId="ADAL" clId="{6515560B-589D-4A66-A240-A163C64A0A04}" dt="2021-08-24T13:39:07.586" v="1823" actId="403"/>
          <ac:spMkLst>
            <pc:docMk/>
            <pc:sldMk cId="3900431786" sldId="2146847365"/>
            <ac:spMk id="25" creationId="{555A3D24-3F89-4F36-BB5C-740CDBCDB55F}"/>
          </ac:spMkLst>
        </pc:spChg>
        <pc:spChg chg="mod">
          <ac:chgData name="Srivastava, Ayush" userId="c01b8864-bd8d-4de8-bbf8-20cad289e861" providerId="ADAL" clId="{6515560B-589D-4A66-A240-A163C64A0A04}" dt="2021-08-24T13:39:07.586" v="1823" actId="403"/>
          <ac:spMkLst>
            <pc:docMk/>
            <pc:sldMk cId="3900431786" sldId="2146847365"/>
            <ac:spMk id="26" creationId="{EA6F4140-BC72-44D1-8BC6-54A3D8FC06C1}"/>
          </ac:spMkLst>
        </pc:spChg>
        <pc:graphicFrameChg chg="mod modGraphic">
          <ac:chgData name="Srivastava, Ayush" userId="c01b8864-bd8d-4de8-bbf8-20cad289e861" providerId="ADAL" clId="{6515560B-589D-4A66-A240-A163C64A0A04}" dt="2021-08-24T16:15:04.310" v="3341" actId="2711"/>
          <ac:graphicFrameMkLst>
            <pc:docMk/>
            <pc:sldMk cId="3900431786" sldId="2146847365"/>
            <ac:graphicFrameMk id="12" creationId="{18069194-4058-49E6-BA4C-7954C0646E61}"/>
          </ac:graphicFrameMkLst>
        </pc:graphicFrameChg>
      </pc:sldChg>
      <pc:sldChg chg="delSp modSp add mod ord">
        <pc:chgData name="Srivastava, Ayush" userId="c01b8864-bd8d-4de8-bbf8-20cad289e861" providerId="ADAL" clId="{6515560B-589D-4A66-A240-A163C64A0A04}" dt="2021-08-24T16:14:43.047" v="3339" actId="2711"/>
        <pc:sldMkLst>
          <pc:docMk/>
          <pc:sldMk cId="1840630185" sldId="2146847366"/>
        </pc:sldMkLst>
        <pc:spChg chg="mod">
          <ac:chgData name="Srivastava, Ayush" userId="c01b8864-bd8d-4de8-bbf8-20cad289e861" providerId="ADAL" clId="{6515560B-589D-4A66-A240-A163C64A0A04}" dt="2021-08-24T15:24:58.179" v="2603" actId="207"/>
          <ac:spMkLst>
            <pc:docMk/>
            <pc:sldMk cId="1840630185" sldId="2146847366"/>
            <ac:spMk id="2" creationId="{98DEF4BE-89FE-4B38-9249-A50705FB9524}"/>
          </ac:spMkLst>
        </pc:spChg>
        <pc:spChg chg="mod">
          <ac:chgData name="Srivastava, Ayush" userId="c01b8864-bd8d-4de8-bbf8-20cad289e861" providerId="ADAL" clId="{6515560B-589D-4A66-A240-A163C64A0A04}" dt="2021-08-24T12:47:39.575" v="936" actId="20577"/>
          <ac:spMkLst>
            <pc:docMk/>
            <pc:sldMk cId="1840630185" sldId="2146847366"/>
            <ac:spMk id="4" creationId="{B38B14AF-B49F-41F5-8E26-05096D2E63C3}"/>
          </ac:spMkLst>
        </pc:spChg>
        <pc:spChg chg="mod">
          <ac:chgData name="Srivastava, Ayush" userId="c01b8864-bd8d-4de8-bbf8-20cad289e861" providerId="ADAL" clId="{6515560B-589D-4A66-A240-A163C64A0A04}" dt="2021-08-24T13:39:18.942" v="1824" actId="14861"/>
          <ac:spMkLst>
            <pc:docMk/>
            <pc:sldMk cId="1840630185" sldId="2146847366"/>
            <ac:spMk id="13" creationId="{D77DC8D4-9E3B-4E17-82AD-FD6C83141CDD}"/>
          </ac:spMkLst>
        </pc:spChg>
        <pc:spChg chg="del">
          <ac:chgData name="Srivastava, Ayush" userId="c01b8864-bd8d-4de8-bbf8-20cad289e861" providerId="ADAL" clId="{6515560B-589D-4A66-A240-A163C64A0A04}" dt="2021-08-24T12:48:48.727" v="979" actId="478"/>
          <ac:spMkLst>
            <pc:docMk/>
            <pc:sldMk cId="1840630185" sldId="2146847366"/>
            <ac:spMk id="17" creationId="{457DA30F-E44C-4794-BBCC-DB1C3C05385C}"/>
          </ac:spMkLst>
        </pc:spChg>
        <pc:spChg chg="mod">
          <ac:chgData name="Srivastava, Ayush" userId="c01b8864-bd8d-4de8-bbf8-20cad289e861" providerId="ADAL" clId="{6515560B-589D-4A66-A240-A163C64A0A04}" dt="2021-08-24T13:39:48.880" v="1832" actId="1037"/>
          <ac:spMkLst>
            <pc:docMk/>
            <pc:sldMk cId="1840630185" sldId="2146847366"/>
            <ac:spMk id="19" creationId="{B83DA935-4FC8-41C1-92AE-C313A09EF61D}"/>
          </ac:spMkLst>
        </pc:spChg>
        <pc:spChg chg="mod">
          <ac:chgData name="Srivastava, Ayush" userId="c01b8864-bd8d-4de8-bbf8-20cad289e861" providerId="ADAL" clId="{6515560B-589D-4A66-A240-A163C64A0A04}" dt="2021-08-24T13:39:48.880" v="1832" actId="1037"/>
          <ac:spMkLst>
            <pc:docMk/>
            <pc:sldMk cId="1840630185" sldId="2146847366"/>
            <ac:spMk id="24" creationId="{64ABC8C5-9B44-4552-89D8-2F34B680A9B0}"/>
          </ac:spMkLst>
        </pc:spChg>
        <pc:spChg chg="mod">
          <ac:chgData name="Srivastava, Ayush" userId="c01b8864-bd8d-4de8-bbf8-20cad289e861" providerId="ADAL" clId="{6515560B-589D-4A66-A240-A163C64A0A04}" dt="2021-08-24T13:39:48.880" v="1832" actId="1037"/>
          <ac:spMkLst>
            <pc:docMk/>
            <pc:sldMk cId="1840630185" sldId="2146847366"/>
            <ac:spMk id="25" creationId="{555A3D24-3F89-4F36-BB5C-740CDBCDB55F}"/>
          </ac:spMkLst>
        </pc:spChg>
        <pc:spChg chg="mod">
          <ac:chgData name="Srivastava, Ayush" userId="c01b8864-bd8d-4de8-bbf8-20cad289e861" providerId="ADAL" clId="{6515560B-589D-4A66-A240-A163C64A0A04}" dt="2021-08-24T13:39:48.880" v="1832" actId="1037"/>
          <ac:spMkLst>
            <pc:docMk/>
            <pc:sldMk cId="1840630185" sldId="2146847366"/>
            <ac:spMk id="26" creationId="{EA6F4140-BC72-44D1-8BC6-54A3D8FC06C1}"/>
          </ac:spMkLst>
        </pc:spChg>
        <pc:graphicFrameChg chg="mod modGraphic">
          <ac:chgData name="Srivastava, Ayush" userId="c01b8864-bd8d-4de8-bbf8-20cad289e861" providerId="ADAL" clId="{6515560B-589D-4A66-A240-A163C64A0A04}" dt="2021-08-24T16:14:43.047" v="3339" actId="2711"/>
          <ac:graphicFrameMkLst>
            <pc:docMk/>
            <pc:sldMk cId="1840630185" sldId="2146847366"/>
            <ac:graphicFrameMk id="12" creationId="{18069194-4058-49E6-BA4C-7954C0646E61}"/>
          </ac:graphicFrameMkLst>
        </pc:graphicFrameChg>
      </pc:sldChg>
      <pc:sldChg chg="add del">
        <pc:chgData name="Srivastava, Ayush" userId="c01b8864-bd8d-4de8-bbf8-20cad289e861" providerId="ADAL" clId="{6515560B-589D-4A66-A240-A163C64A0A04}" dt="2021-08-24T12:52:46.374" v="1071" actId="47"/>
        <pc:sldMkLst>
          <pc:docMk/>
          <pc:sldMk cId="1149811875" sldId="2146847367"/>
        </pc:sldMkLst>
      </pc:sldChg>
      <pc:sldChg chg="del">
        <pc:chgData name="Srivastava, Ayush" userId="c01b8864-bd8d-4de8-bbf8-20cad289e861" providerId="ADAL" clId="{6515560B-589D-4A66-A240-A163C64A0A04}" dt="2021-08-24T13:01:04.309" v="1089" actId="47"/>
        <pc:sldMkLst>
          <pc:docMk/>
          <pc:sldMk cId="1214845235" sldId="2146847367"/>
        </pc:sldMkLst>
      </pc:sldChg>
      <pc:sldChg chg="modSp mod">
        <pc:chgData name="Srivastava, Ayush" userId="c01b8864-bd8d-4de8-bbf8-20cad289e861" providerId="ADAL" clId="{6515560B-589D-4A66-A240-A163C64A0A04}" dt="2021-08-24T16:37:41.741" v="3428" actId="20577"/>
        <pc:sldMkLst>
          <pc:docMk/>
          <pc:sldMk cId="3935458817" sldId="2146847367"/>
        </pc:sldMkLst>
        <pc:spChg chg="mod">
          <ac:chgData name="Srivastava, Ayush" userId="c01b8864-bd8d-4de8-bbf8-20cad289e861" providerId="ADAL" clId="{6515560B-589D-4A66-A240-A163C64A0A04}" dt="2021-08-24T13:07:10.127" v="1163" actId="20577"/>
          <ac:spMkLst>
            <pc:docMk/>
            <pc:sldMk cId="3935458817" sldId="2146847367"/>
            <ac:spMk id="155" creationId="{6FCCE1EE-0AE1-4701-A05A-2F7E0F911D68}"/>
          </ac:spMkLst>
        </pc:spChg>
        <pc:spChg chg="mod">
          <ac:chgData name="Srivastava, Ayush" userId="c01b8864-bd8d-4de8-bbf8-20cad289e861" providerId="ADAL" clId="{6515560B-589D-4A66-A240-A163C64A0A04}" dt="2021-08-24T13:07:15.893" v="1169" actId="20577"/>
          <ac:spMkLst>
            <pc:docMk/>
            <pc:sldMk cId="3935458817" sldId="2146847367"/>
            <ac:spMk id="157" creationId="{DFDAE6F9-F576-47EA-B03D-F3B71D5CB184}"/>
          </ac:spMkLst>
        </pc:spChg>
        <pc:spChg chg="mod">
          <ac:chgData name="Srivastava, Ayush" userId="c01b8864-bd8d-4de8-bbf8-20cad289e861" providerId="ADAL" clId="{6515560B-589D-4A66-A240-A163C64A0A04}" dt="2021-08-24T13:07:20.101" v="1175" actId="20577"/>
          <ac:spMkLst>
            <pc:docMk/>
            <pc:sldMk cId="3935458817" sldId="2146847367"/>
            <ac:spMk id="158" creationId="{4808F123-1169-43B1-9B38-26927C9D5F05}"/>
          </ac:spMkLst>
        </pc:spChg>
        <pc:spChg chg="mod">
          <ac:chgData name="Srivastava, Ayush" userId="c01b8864-bd8d-4de8-bbf8-20cad289e861" providerId="ADAL" clId="{6515560B-589D-4A66-A240-A163C64A0A04}" dt="2021-08-24T13:07:26.267" v="1181" actId="20577"/>
          <ac:spMkLst>
            <pc:docMk/>
            <pc:sldMk cId="3935458817" sldId="2146847367"/>
            <ac:spMk id="159" creationId="{E5BBFE9E-0A3B-4422-8AF5-FD2CB224AF57}"/>
          </ac:spMkLst>
        </pc:spChg>
        <pc:spChg chg="mod">
          <ac:chgData name="Srivastava, Ayush" userId="c01b8864-bd8d-4de8-bbf8-20cad289e861" providerId="ADAL" clId="{6515560B-589D-4A66-A240-A163C64A0A04}" dt="2021-08-24T13:07:30.639" v="1187" actId="20577"/>
          <ac:spMkLst>
            <pc:docMk/>
            <pc:sldMk cId="3935458817" sldId="2146847367"/>
            <ac:spMk id="160" creationId="{C1895DB2-D1A6-4AA5-BA73-A96B6FF2A762}"/>
          </ac:spMkLst>
        </pc:spChg>
        <pc:spChg chg="mod">
          <ac:chgData name="Srivastava, Ayush" userId="c01b8864-bd8d-4de8-bbf8-20cad289e861" providerId="ADAL" clId="{6515560B-589D-4A66-A240-A163C64A0A04}" dt="2021-08-24T13:07:35.046" v="1193" actId="20577"/>
          <ac:spMkLst>
            <pc:docMk/>
            <pc:sldMk cId="3935458817" sldId="2146847367"/>
            <ac:spMk id="161" creationId="{3759A274-9DFF-487A-88AC-B07ABC6F4D74}"/>
          </ac:spMkLst>
        </pc:spChg>
        <pc:spChg chg="mod">
          <ac:chgData name="Srivastava, Ayush" userId="c01b8864-bd8d-4de8-bbf8-20cad289e861" providerId="ADAL" clId="{6515560B-589D-4A66-A240-A163C64A0A04}" dt="2021-08-24T13:07:39.973" v="1199" actId="20577"/>
          <ac:spMkLst>
            <pc:docMk/>
            <pc:sldMk cId="3935458817" sldId="2146847367"/>
            <ac:spMk id="162" creationId="{4160CDCF-AB6E-4D3D-8E15-BFE8958657D9}"/>
          </ac:spMkLst>
        </pc:spChg>
        <pc:spChg chg="mod">
          <ac:chgData name="Srivastava, Ayush" userId="c01b8864-bd8d-4de8-bbf8-20cad289e861" providerId="ADAL" clId="{6515560B-589D-4A66-A240-A163C64A0A04}" dt="2021-08-24T15:51:48.854" v="3116" actId="113"/>
          <ac:spMkLst>
            <pc:docMk/>
            <pc:sldMk cId="3935458817" sldId="2146847367"/>
            <ac:spMk id="169" creationId="{15395A1E-77E1-4C11-B434-4A9F0957672A}"/>
          </ac:spMkLst>
        </pc:spChg>
        <pc:spChg chg="mod">
          <ac:chgData name="Srivastava, Ayush" userId="c01b8864-bd8d-4de8-bbf8-20cad289e861" providerId="ADAL" clId="{6515560B-589D-4A66-A240-A163C64A0A04}" dt="2021-08-24T15:51:08.202" v="3103" actId="255"/>
          <ac:spMkLst>
            <pc:docMk/>
            <pc:sldMk cId="3935458817" sldId="2146847367"/>
            <ac:spMk id="170" creationId="{E2542F0F-7819-40ED-94D4-4B89A966177D}"/>
          </ac:spMkLst>
        </pc:spChg>
        <pc:spChg chg="mod">
          <ac:chgData name="Srivastava, Ayush" userId="c01b8864-bd8d-4de8-bbf8-20cad289e861" providerId="ADAL" clId="{6515560B-589D-4A66-A240-A163C64A0A04}" dt="2021-08-24T13:47:36.780" v="1943" actId="20577"/>
          <ac:spMkLst>
            <pc:docMk/>
            <pc:sldMk cId="3935458817" sldId="2146847367"/>
            <ac:spMk id="175" creationId="{E4A1191E-1DBA-4AC1-A639-CE159E0C1D41}"/>
          </ac:spMkLst>
        </pc:spChg>
        <pc:spChg chg="mod">
          <ac:chgData name="Srivastava, Ayush" userId="c01b8864-bd8d-4de8-bbf8-20cad289e861" providerId="ADAL" clId="{6515560B-589D-4A66-A240-A163C64A0A04}" dt="2021-08-24T15:39:46.921" v="2850" actId="20577"/>
          <ac:spMkLst>
            <pc:docMk/>
            <pc:sldMk cId="3935458817" sldId="2146847367"/>
            <ac:spMk id="177" creationId="{104E4774-2949-4FFD-B7EB-916BBAA7E8C5}"/>
          </ac:spMkLst>
        </pc:spChg>
        <pc:spChg chg="mod">
          <ac:chgData name="Srivastava, Ayush" userId="c01b8864-bd8d-4de8-bbf8-20cad289e861" providerId="ADAL" clId="{6515560B-589D-4A66-A240-A163C64A0A04}" dt="2021-08-24T15:52:32.919" v="3133" actId="1036"/>
          <ac:spMkLst>
            <pc:docMk/>
            <pc:sldMk cId="3935458817" sldId="2146847367"/>
            <ac:spMk id="178" creationId="{0F933D43-6CF1-4483-93D0-D2D87483FB20}"/>
          </ac:spMkLst>
        </pc:spChg>
        <pc:spChg chg="mod">
          <ac:chgData name="Srivastava, Ayush" userId="c01b8864-bd8d-4de8-bbf8-20cad289e861" providerId="ADAL" clId="{6515560B-589D-4A66-A240-A163C64A0A04}" dt="2021-08-24T15:52:32.919" v="3133" actId="1036"/>
          <ac:spMkLst>
            <pc:docMk/>
            <pc:sldMk cId="3935458817" sldId="2146847367"/>
            <ac:spMk id="179" creationId="{627BAD3A-0464-48CF-B769-DFC68AB8CB5F}"/>
          </ac:spMkLst>
        </pc:spChg>
        <pc:spChg chg="mod">
          <ac:chgData name="Srivastava, Ayush" userId="c01b8864-bd8d-4de8-bbf8-20cad289e861" providerId="ADAL" clId="{6515560B-589D-4A66-A240-A163C64A0A04}" dt="2021-08-24T15:52:32.919" v="3133" actId="1036"/>
          <ac:spMkLst>
            <pc:docMk/>
            <pc:sldMk cId="3935458817" sldId="2146847367"/>
            <ac:spMk id="181" creationId="{FBDEB3C3-754D-472B-A0EC-15376923EE1D}"/>
          </ac:spMkLst>
        </pc:spChg>
        <pc:spChg chg="mod">
          <ac:chgData name="Srivastava, Ayush" userId="c01b8864-bd8d-4de8-bbf8-20cad289e861" providerId="ADAL" clId="{6515560B-589D-4A66-A240-A163C64A0A04}" dt="2021-08-24T15:52:32.919" v="3133" actId="1036"/>
          <ac:spMkLst>
            <pc:docMk/>
            <pc:sldMk cId="3935458817" sldId="2146847367"/>
            <ac:spMk id="182" creationId="{6132B1B7-F58B-48BE-B145-C03440DFC2B0}"/>
          </ac:spMkLst>
        </pc:spChg>
        <pc:spChg chg="mod">
          <ac:chgData name="Srivastava, Ayush" userId="c01b8864-bd8d-4de8-bbf8-20cad289e861" providerId="ADAL" clId="{6515560B-589D-4A66-A240-A163C64A0A04}" dt="2021-08-24T15:52:32.919" v="3133" actId="1036"/>
          <ac:spMkLst>
            <pc:docMk/>
            <pc:sldMk cId="3935458817" sldId="2146847367"/>
            <ac:spMk id="183" creationId="{9DEADF87-B730-4403-8583-D9F4F44A6127}"/>
          </ac:spMkLst>
        </pc:spChg>
        <pc:spChg chg="mod">
          <ac:chgData name="Srivastava, Ayush" userId="c01b8864-bd8d-4de8-bbf8-20cad289e861" providerId="ADAL" clId="{6515560B-589D-4A66-A240-A163C64A0A04}" dt="2021-08-24T15:53:54.077" v="3164" actId="14100"/>
          <ac:spMkLst>
            <pc:docMk/>
            <pc:sldMk cId="3935458817" sldId="2146847367"/>
            <ac:spMk id="189" creationId="{391320DA-82C6-433B-95CF-7D86832C05AC}"/>
          </ac:spMkLst>
        </pc:spChg>
        <pc:spChg chg="mod">
          <ac:chgData name="Srivastava, Ayush" userId="c01b8864-bd8d-4de8-bbf8-20cad289e861" providerId="ADAL" clId="{6515560B-589D-4A66-A240-A163C64A0A04}" dt="2021-08-24T15:39:56.303" v="2855" actId="20577"/>
          <ac:spMkLst>
            <pc:docMk/>
            <pc:sldMk cId="3935458817" sldId="2146847367"/>
            <ac:spMk id="190" creationId="{D7D10A7A-F7C7-4ADF-8DBB-21B88E0A5AFF}"/>
          </ac:spMkLst>
        </pc:spChg>
        <pc:spChg chg="mod">
          <ac:chgData name="Srivastava, Ayush" userId="c01b8864-bd8d-4de8-bbf8-20cad289e861" providerId="ADAL" clId="{6515560B-589D-4A66-A240-A163C64A0A04}" dt="2021-08-24T15:51:54.339" v="3118" actId="113"/>
          <ac:spMkLst>
            <pc:docMk/>
            <pc:sldMk cId="3935458817" sldId="2146847367"/>
            <ac:spMk id="191" creationId="{463A9683-1BC0-4FA1-B2FC-44D8B6486118}"/>
          </ac:spMkLst>
        </pc:spChg>
        <pc:spChg chg="mod">
          <ac:chgData name="Srivastava, Ayush" userId="c01b8864-bd8d-4de8-bbf8-20cad289e861" providerId="ADAL" clId="{6515560B-589D-4A66-A240-A163C64A0A04}" dt="2021-08-24T15:51:45.601" v="3115" actId="113"/>
          <ac:spMkLst>
            <pc:docMk/>
            <pc:sldMk cId="3935458817" sldId="2146847367"/>
            <ac:spMk id="192" creationId="{9326CDCF-D252-4D33-8707-0051C627BB1D}"/>
          </ac:spMkLst>
        </pc:spChg>
        <pc:spChg chg="mod">
          <ac:chgData name="Srivastava, Ayush" userId="c01b8864-bd8d-4de8-bbf8-20cad289e861" providerId="ADAL" clId="{6515560B-589D-4A66-A240-A163C64A0A04}" dt="2021-08-24T15:51:51.545" v="3117" actId="113"/>
          <ac:spMkLst>
            <pc:docMk/>
            <pc:sldMk cId="3935458817" sldId="2146847367"/>
            <ac:spMk id="193" creationId="{2F19591C-711A-47B7-A287-5607A10FAC34}"/>
          </ac:spMkLst>
        </pc:spChg>
        <pc:spChg chg="mod">
          <ac:chgData name="Srivastava, Ayush" userId="c01b8864-bd8d-4de8-bbf8-20cad289e861" providerId="ADAL" clId="{6515560B-589D-4A66-A240-A163C64A0A04}" dt="2021-08-24T15:53:11.838" v="3151" actId="20577"/>
          <ac:spMkLst>
            <pc:docMk/>
            <pc:sldMk cId="3935458817" sldId="2146847367"/>
            <ac:spMk id="195" creationId="{CE7DD3C6-A8A5-4E93-966F-7E436E8FA0CF}"/>
          </ac:spMkLst>
        </pc:spChg>
        <pc:spChg chg="mod">
          <ac:chgData name="Srivastava, Ayush" userId="c01b8864-bd8d-4de8-bbf8-20cad289e861" providerId="ADAL" clId="{6515560B-589D-4A66-A240-A163C64A0A04}" dt="2021-08-24T15:54:00.282" v="3169" actId="313"/>
          <ac:spMkLst>
            <pc:docMk/>
            <pc:sldMk cId="3935458817" sldId="2146847367"/>
            <ac:spMk id="197" creationId="{B6995373-6443-46A4-B64E-66D3E01CC60B}"/>
          </ac:spMkLst>
        </pc:spChg>
        <pc:spChg chg="mod">
          <ac:chgData name="Srivastava, Ayush" userId="c01b8864-bd8d-4de8-bbf8-20cad289e861" providerId="ADAL" clId="{6515560B-589D-4A66-A240-A163C64A0A04}" dt="2021-08-24T15:51:08.202" v="3103" actId="255"/>
          <ac:spMkLst>
            <pc:docMk/>
            <pc:sldMk cId="3935458817" sldId="2146847367"/>
            <ac:spMk id="198" creationId="{653463E8-5DBF-456D-B956-B50D92E0383F}"/>
          </ac:spMkLst>
        </pc:spChg>
        <pc:spChg chg="mod">
          <ac:chgData name="Srivastava, Ayush" userId="c01b8864-bd8d-4de8-bbf8-20cad289e861" providerId="ADAL" clId="{6515560B-589D-4A66-A240-A163C64A0A04}" dt="2021-08-24T15:51:08.202" v="3103" actId="255"/>
          <ac:spMkLst>
            <pc:docMk/>
            <pc:sldMk cId="3935458817" sldId="2146847367"/>
            <ac:spMk id="200" creationId="{597AB7C4-D222-41EA-A4D1-3474FD7B02C4}"/>
          </ac:spMkLst>
        </pc:spChg>
        <pc:spChg chg="mod">
          <ac:chgData name="Srivastava, Ayush" userId="c01b8864-bd8d-4de8-bbf8-20cad289e861" providerId="ADAL" clId="{6515560B-589D-4A66-A240-A163C64A0A04}" dt="2021-08-24T15:52:52.563" v="3138" actId="1035"/>
          <ac:spMkLst>
            <pc:docMk/>
            <pc:sldMk cId="3935458817" sldId="2146847367"/>
            <ac:spMk id="202" creationId="{7D48C424-127E-4017-BB8E-9F8573D12116}"/>
          </ac:spMkLst>
        </pc:spChg>
        <pc:spChg chg="mod">
          <ac:chgData name="Srivastava, Ayush" userId="c01b8864-bd8d-4de8-bbf8-20cad289e861" providerId="ADAL" clId="{6515560B-589D-4A66-A240-A163C64A0A04}" dt="2021-08-24T15:51:08.202" v="3103" actId="255"/>
          <ac:spMkLst>
            <pc:docMk/>
            <pc:sldMk cId="3935458817" sldId="2146847367"/>
            <ac:spMk id="206" creationId="{3993CB87-C937-4AD6-86F5-63B05579F539}"/>
          </ac:spMkLst>
        </pc:spChg>
        <pc:spChg chg="mod">
          <ac:chgData name="Srivastava, Ayush" userId="c01b8864-bd8d-4de8-bbf8-20cad289e861" providerId="ADAL" clId="{6515560B-589D-4A66-A240-A163C64A0A04}" dt="2021-08-24T15:52:49.571" v="3135" actId="1036"/>
          <ac:spMkLst>
            <pc:docMk/>
            <pc:sldMk cId="3935458817" sldId="2146847367"/>
            <ac:spMk id="208" creationId="{5CD88F64-8F5F-4224-8BD0-3D748F8152BB}"/>
          </ac:spMkLst>
        </pc:spChg>
        <pc:spChg chg="mod">
          <ac:chgData name="Srivastava, Ayush" userId="c01b8864-bd8d-4de8-bbf8-20cad289e861" providerId="ADAL" clId="{6515560B-589D-4A66-A240-A163C64A0A04}" dt="2021-08-24T15:40:00.519" v="2858" actId="20577"/>
          <ac:spMkLst>
            <pc:docMk/>
            <pc:sldMk cId="3935458817" sldId="2146847367"/>
            <ac:spMk id="213" creationId="{82A32EE6-97E4-43C7-806B-E38CC996DE55}"/>
          </ac:spMkLst>
        </pc:spChg>
        <pc:spChg chg="mod">
          <ac:chgData name="Srivastava, Ayush" userId="c01b8864-bd8d-4de8-bbf8-20cad289e861" providerId="ADAL" clId="{6515560B-589D-4A66-A240-A163C64A0A04}" dt="2021-08-24T15:40:06.398" v="2861" actId="20577"/>
          <ac:spMkLst>
            <pc:docMk/>
            <pc:sldMk cId="3935458817" sldId="2146847367"/>
            <ac:spMk id="214" creationId="{184641FE-B3F5-42FE-98B2-7ECD9421CC17}"/>
          </ac:spMkLst>
        </pc:spChg>
        <pc:spChg chg="mod">
          <ac:chgData name="Srivastava, Ayush" userId="c01b8864-bd8d-4de8-bbf8-20cad289e861" providerId="ADAL" clId="{6515560B-589D-4A66-A240-A163C64A0A04}" dt="2021-08-24T15:40:11.909" v="2864" actId="20577"/>
          <ac:spMkLst>
            <pc:docMk/>
            <pc:sldMk cId="3935458817" sldId="2146847367"/>
            <ac:spMk id="215" creationId="{B58AEFF4-DDF5-4DE6-83B2-1CC268568F1A}"/>
          </ac:spMkLst>
        </pc:spChg>
        <pc:spChg chg="mod">
          <ac:chgData name="Srivastava, Ayush" userId="c01b8864-bd8d-4de8-bbf8-20cad289e861" providerId="ADAL" clId="{6515560B-589D-4A66-A240-A163C64A0A04}" dt="2021-08-24T15:40:46.223" v="2877" actId="20577"/>
          <ac:spMkLst>
            <pc:docMk/>
            <pc:sldMk cId="3935458817" sldId="2146847367"/>
            <ac:spMk id="216" creationId="{9C5AEFC9-722C-45EA-8BBF-8F29CFE18048}"/>
          </ac:spMkLst>
        </pc:spChg>
        <pc:spChg chg="mod">
          <ac:chgData name="Srivastava, Ayush" userId="c01b8864-bd8d-4de8-bbf8-20cad289e861" providerId="ADAL" clId="{6515560B-589D-4A66-A240-A163C64A0A04}" dt="2021-08-24T15:40:20.140" v="2867" actId="20577"/>
          <ac:spMkLst>
            <pc:docMk/>
            <pc:sldMk cId="3935458817" sldId="2146847367"/>
            <ac:spMk id="217" creationId="{B517A1E6-4F95-476A-BFB3-BA31297466E6}"/>
          </ac:spMkLst>
        </pc:spChg>
        <pc:spChg chg="mod">
          <ac:chgData name="Srivastava, Ayush" userId="c01b8864-bd8d-4de8-bbf8-20cad289e861" providerId="ADAL" clId="{6515560B-589D-4A66-A240-A163C64A0A04}" dt="2021-08-24T15:40:26.300" v="2870" actId="20577"/>
          <ac:spMkLst>
            <pc:docMk/>
            <pc:sldMk cId="3935458817" sldId="2146847367"/>
            <ac:spMk id="218" creationId="{0352CB39-40B0-4624-895B-A1F10F27C635}"/>
          </ac:spMkLst>
        </pc:spChg>
        <pc:spChg chg="mod">
          <ac:chgData name="Srivastava, Ayush" userId="c01b8864-bd8d-4de8-bbf8-20cad289e861" providerId="ADAL" clId="{6515560B-589D-4A66-A240-A163C64A0A04}" dt="2021-08-24T13:47:31.030" v="1939" actId="20577"/>
          <ac:spMkLst>
            <pc:docMk/>
            <pc:sldMk cId="3935458817" sldId="2146847367"/>
            <ac:spMk id="219" creationId="{5CFFF38E-F420-49F2-8564-D4E915E13AA9}"/>
          </ac:spMkLst>
        </pc:spChg>
        <pc:spChg chg="mod">
          <ac:chgData name="Srivastava, Ayush" userId="c01b8864-bd8d-4de8-bbf8-20cad289e861" providerId="ADAL" clId="{6515560B-589D-4A66-A240-A163C64A0A04}" dt="2021-08-24T15:38:51.136" v="2826" actId="20577"/>
          <ac:spMkLst>
            <pc:docMk/>
            <pc:sldMk cId="3935458817" sldId="2146847367"/>
            <ac:spMk id="220" creationId="{11AC825E-D627-45E9-85FF-6A58BEE49119}"/>
          </ac:spMkLst>
        </pc:spChg>
        <pc:spChg chg="mod">
          <ac:chgData name="Srivastava, Ayush" userId="c01b8864-bd8d-4de8-bbf8-20cad289e861" providerId="ADAL" clId="{6515560B-589D-4A66-A240-A163C64A0A04}" dt="2021-08-24T15:39:04.763" v="2829" actId="20577"/>
          <ac:spMkLst>
            <pc:docMk/>
            <pc:sldMk cId="3935458817" sldId="2146847367"/>
            <ac:spMk id="221" creationId="{F410DE05-0A9D-4FDC-878A-CA148F603BAD}"/>
          </ac:spMkLst>
        </pc:spChg>
        <pc:spChg chg="mod">
          <ac:chgData name="Srivastava, Ayush" userId="c01b8864-bd8d-4de8-bbf8-20cad289e861" providerId="ADAL" clId="{6515560B-589D-4A66-A240-A163C64A0A04}" dt="2021-08-24T15:39:10.179" v="2832" actId="20577"/>
          <ac:spMkLst>
            <pc:docMk/>
            <pc:sldMk cId="3935458817" sldId="2146847367"/>
            <ac:spMk id="222" creationId="{93785FE4-8DB9-490A-99C5-C3629D7BE0A6}"/>
          </ac:spMkLst>
        </pc:spChg>
        <pc:spChg chg="mod">
          <ac:chgData name="Srivastava, Ayush" userId="c01b8864-bd8d-4de8-bbf8-20cad289e861" providerId="ADAL" clId="{6515560B-589D-4A66-A240-A163C64A0A04}" dt="2021-08-24T15:39:14.562" v="2835" actId="20577"/>
          <ac:spMkLst>
            <pc:docMk/>
            <pc:sldMk cId="3935458817" sldId="2146847367"/>
            <ac:spMk id="223" creationId="{3710255E-F31D-45E2-9FA9-A132D8E0278B}"/>
          </ac:spMkLst>
        </pc:spChg>
        <pc:spChg chg="mod">
          <ac:chgData name="Srivastava, Ayush" userId="c01b8864-bd8d-4de8-bbf8-20cad289e861" providerId="ADAL" clId="{6515560B-589D-4A66-A240-A163C64A0A04}" dt="2021-08-24T15:39:19.103" v="2838" actId="20577"/>
          <ac:spMkLst>
            <pc:docMk/>
            <pc:sldMk cId="3935458817" sldId="2146847367"/>
            <ac:spMk id="224" creationId="{2C1412E9-7FA6-4AE3-8523-3124622303C2}"/>
          </ac:spMkLst>
        </pc:spChg>
        <pc:spChg chg="mod">
          <ac:chgData name="Srivastava, Ayush" userId="c01b8864-bd8d-4de8-bbf8-20cad289e861" providerId="ADAL" clId="{6515560B-589D-4A66-A240-A163C64A0A04}" dt="2021-08-24T15:39:23.985" v="2841" actId="20577"/>
          <ac:spMkLst>
            <pc:docMk/>
            <pc:sldMk cId="3935458817" sldId="2146847367"/>
            <ac:spMk id="225" creationId="{FD955147-CBB8-46F3-9A43-8E7F7267EF1A}"/>
          </ac:spMkLst>
        </pc:spChg>
        <pc:spChg chg="mod">
          <ac:chgData name="Srivastava, Ayush" userId="c01b8864-bd8d-4de8-bbf8-20cad289e861" providerId="ADAL" clId="{6515560B-589D-4A66-A240-A163C64A0A04}" dt="2021-08-24T15:39:30.678" v="2844" actId="20577"/>
          <ac:spMkLst>
            <pc:docMk/>
            <pc:sldMk cId="3935458817" sldId="2146847367"/>
            <ac:spMk id="226" creationId="{7B1E98FF-0A54-432F-A836-CD118C23CE61}"/>
          </ac:spMkLst>
        </pc:spChg>
        <pc:spChg chg="mod">
          <ac:chgData name="Srivastava, Ayush" userId="c01b8864-bd8d-4de8-bbf8-20cad289e861" providerId="ADAL" clId="{6515560B-589D-4A66-A240-A163C64A0A04}" dt="2021-08-24T15:39:39.052" v="2847" actId="20577"/>
          <ac:spMkLst>
            <pc:docMk/>
            <pc:sldMk cId="3935458817" sldId="2146847367"/>
            <ac:spMk id="227" creationId="{0E0AD5B0-E467-4F0F-BA29-124B55C15B98}"/>
          </ac:spMkLst>
        </pc:spChg>
        <pc:spChg chg="mod">
          <ac:chgData name="Srivastava, Ayush" userId="c01b8864-bd8d-4de8-bbf8-20cad289e861" providerId="ADAL" clId="{6515560B-589D-4A66-A240-A163C64A0A04}" dt="2021-08-24T16:37:03.905" v="3410" actId="20577"/>
          <ac:spMkLst>
            <pc:docMk/>
            <pc:sldMk cId="3935458817" sldId="2146847367"/>
            <ac:spMk id="229" creationId="{E813E92B-A912-442A-8F12-2ED373DD86C7}"/>
          </ac:spMkLst>
        </pc:spChg>
        <pc:spChg chg="mod">
          <ac:chgData name="Srivastava, Ayush" userId="c01b8864-bd8d-4de8-bbf8-20cad289e861" providerId="ADAL" clId="{6515560B-589D-4A66-A240-A163C64A0A04}" dt="2021-08-24T15:38:11.087" v="2818" actId="20577"/>
          <ac:spMkLst>
            <pc:docMk/>
            <pc:sldMk cId="3935458817" sldId="2146847367"/>
            <ac:spMk id="242" creationId="{4564FCB3-7777-4AD5-82CD-33124E931665}"/>
          </ac:spMkLst>
        </pc:spChg>
        <pc:spChg chg="mod">
          <ac:chgData name="Srivastava, Ayush" userId="c01b8864-bd8d-4de8-bbf8-20cad289e861" providerId="ADAL" clId="{6515560B-589D-4A66-A240-A163C64A0A04}" dt="2021-08-24T15:35:57.367" v="2758" actId="20577"/>
          <ac:spMkLst>
            <pc:docMk/>
            <pc:sldMk cId="3935458817" sldId="2146847367"/>
            <ac:spMk id="243" creationId="{FA3D1C4C-3921-4E0A-8555-E2A3957FA760}"/>
          </ac:spMkLst>
        </pc:spChg>
        <pc:spChg chg="mod">
          <ac:chgData name="Srivastava, Ayush" userId="c01b8864-bd8d-4de8-bbf8-20cad289e861" providerId="ADAL" clId="{6515560B-589D-4A66-A240-A163C64A0A04}" dt="2021-08-24T15:36:07.359" v="2761" actId="20577"/>
          <ac:spMkLst>
            <pc:docMk/>
            <pc:sldMk cId="3935458817" sldId="2146847367"/>
            <ac:spMk id="244" creationId="{941C877E-250A-4749-A6EB-8692FE1E3D04}"/>
          </ac:spMkLst>
        </pc:spChg>
        <pc:spChg chg="mod">
          <ac:chgData name="Srivastava, Ayush" userId="c01b8864-bd8d-4de8-bbf8-20cad289e861" providerId="ADAL" clId="{6515560B-589D-4A66-A240-A163C64A0A04}" dt="2021-08-24T15:36:12.209" v="2764" actId="20577"/>
          <ac:spMkLst>
            <pc:docMk/>
            <pc:sldMk cId="3935458817" sldId="2146847367"/>
            <ac:spMk id="245" creationId="{D20002F8-AB63-4D96-9F93-CC72EDFD33B2}"/>
          </ac:spMkLst>
        </pc:spChg>
        <pc:spChg chg="mod">
          <ac:chgData name="Srivastava, Ayush" userId="c01b8864-bd8d-4de8-bbf8-20cad289e861" providerId="ADAL" clId="{6515560B-589D-4A66-A240-A163C64A0A04}" dt="2021-08-24T15:36:17.007" v="2767" actId="20577"/>
          <ac:spMkLst>
            <pc:docMk/>
            <pc:sldMk cId="3935458817" sldId="2146847367"/>
            <ac:spMk id="246" creationId="{E298B085-DACA-4E0B-957E-8539D46B7152}"/>
          </ac:spMkLst>
        </pc:spChg>
        <pc:spChg chg="mod">
          <ac:chgData name="Srivastava, Ayush" userId="c01b8864-bd8d-4de8-bbf8-20cad289e861" providerId="ADAL" clId="{6515560B-589D-4A66-A240-A163C64A0A04}" dt="2021-08-24T15:36:25.120" v="2770" actId="20577"/>
          <ac:spMkLst>
            <pc:docMk/>
            <pc:sldMk cId="3935458817" sldId="2146847367"/>
            <ac:spMk id="247" creationId="{693B5802-DA00-45D8-AB0C-EAFFC339E7A3}"/>
          </ac:spMkLst>
        </pc:spChg>
        <pc:spChg chg="mod">
          <ac:chgData name="Srivastava, Ayush" userId="c01b8864-bd8d-4de8-bbf8-20cad289e861" providerId="ADAL" clId="{6515560B-589D-4A66-A240-A163C64A0A04}" dt="2021-08-24T15:36:30.469" v="2773" actId="20577"/>
          <ac:spMkLst>
            <pc:docMk/>
            <pc:sldMk cId="3935458817" sldId="2146847367"/>
            <ac:spMk id="248" creationId="{75A95244-6B3A-46A4-B819-81B48008941F}"/>
          </ac:spMkLst>
        </pc:spChg>
        <pc:spChg chg="mod">
          <ac:chgData name="Srivastava, Ayush" userId="c01b8864-bd8d-4de8-bbf8-20cad289e861" providerId="ADAL" clId="{6515560B-589D-4A66-A240-A163C64A0A04}" dt="2021-08-24T15:36:38.456" v="2776" actId="20577"/>
          <ac:spMkLst>
            <pc:docMk/>
            <pc:sldMk cId="3935458817" sldId="2146847367"/>
            <ac:spMk id="249" creationId="{86411F37-D16E-408A-B091-324C9EA9C0F8}"/>
          </ac:spMkLst>
        </pc:spChg>
        <pc:spChg chg="mod">
          <ac:chgData name="Srivastava, Ayush" userId="c01b8864-bd8d-4de8-bbf8-20cad289e861" providerId="ADAL" clId="{6515560B-589D-4A66-A240-A163C64A0A04}" dt="2021-08-24T15:37:01.104" v="2782" actId="20577"/>
          <ac:spMkLst>
            <pc:docMk/>
            <pc:sldMk cId="3935458817" sldId="2146847367"/>
            <ac:spMk id="250" creationId="{9A253CEA-CB62-4C38-AA60-9C0AD17358FD}"/>
          </ac:spMkLst>
        </pc:spChg>
        <pc:spChg chg="mod">
          <ac:chgData name="Srivastava, Ayush" userId="c01b8864-bd8d-4de8-bbf8-20cad289e861" providerId="ADAL" clId="{6515560B-589D-4A66-A240-A163C64A0A04}" dt="2021-08-24T15:37:05.731" v="2785" actId="20577"/>
          <ac:spMkLst>
            <pc:docMk/>
            <pc:sldMk cId="3935458817" sldId="2146847367"/>
            <ac:spMk id="251" creationId="{E4D3281D-5913-4AD7-8633-00777950202F}"/>
          </ac:spMkLst>
        </pc:spChg>
        <pc:spChg chg="mod">
          <ac:chgData name="Srivastava, Ayush" userId="c01b8864-bd8d-4de8-bbf8-20cad289e861" providerId="ADAL" clId="{6515560B-589D-4A66-A240-A163C64A0A04}" dt="2021-08-24T15:37:10.307" v="2788" actId="20577"/>
          <ac:spMkLst>
            <pc:docMk/>
            <pc:sldMk cId="3935458817" sldId="2146847367"/>
            <ac:spMk id="252" creationId="{962DC4CC-A63D-48D9-865D-3D9451810AB0}"/>
          </ac:spMkLst>
        </pc:spChg>
        <pc:spChg chg="mod">
          <ac:chgData name="Srivastava, Ayush" userId="c01b8864-bd8d-4de8-bbf8-20cad289e861" providerId="ADAL" clId="{6515560B-589D-4A66-A240-A163C64A0A04}" dt="2021-08-24T15:37:15.137" v="2791" actId="20577"/>
          <ac:spMkLst>
            <pc:docMk/>
            <pc:sldMk cId="3935458817" sldId="2146847367"/>
            <ac:spMk id="253" creationId="{469F4A01-140C-40A1-9BDF-DC8949283EDA}"/>
          </ac:spMkLst>
        </pc:spChg>
        <pc:spChg chg="mod">
          <ac:chgData name="Srivastava, Ayush" userId="c01b8864-bd8d-4de8-bbf8-20cad289e861" providerId="ADAL" clId="{6515560B-589D-4A66-A240-A163C64A0A04}" dt="2021-08-24T15:36:50.543" v="2779" actId="20577"/>
          <ac:spMkLst>
            <pc:docMk/>
            <pc:sldMk cId="3935458817" sldId="2146847367"/>
            <ac:spMk id="254" creationId="{6C5F8A87-B9E2-4D57-AFF0-855B020F2F4F}"/>
          </ac:spMkLst>
        </pc:spChg>
        <pc:spChg chg="mod">
          <ac:chgData name="Srivastava, Ayush" userId="c01b8864-bd8d-4de8-bbf8-20cad289e861" providerId="ADAL" clId="{6515560B-589D-4A66-A240-A163C64A0A04}" dt="2021-08-24T15:37:19.630" v="2794" actId="20577"/>
          <ac:spMkLst>
            <pc:docMk/>
            <pc:sldMk cId="3935458817" sldId="2146847367"/>
            <ac:spMk id="255" creationId="{1CE58D57-E26D-4C65-986A-F422EAEA2860}"/>
          </ac:spMkLst>
        </pc:spChg>
        <pc:spChg chg="mod">
          <ac:chgData name="Srivastava, Ayush" userId="c01b8864-bd8d-4de8-bbf8-20cad289e861" providerId="ADAL" clId="{6515560B-589D-4A66-A240-A163C64A0A04}" dt="2021-08-24T15:37:26.344" v="2797" actId="20577"/>
          <ac:spMkLst>
            <pc:docMk/>
            <pc:sldMk cId="3935458817" sldId="2146847367"/>
            <ac:spMk id="256" creationId="{CD8CBE52-E0C3-4213-9300-FD1E5ED87454}"/>
          </ac:spMkLst>
        </pc:spChg>
        <pc:spChg chg="mod">
          <ac:chgData name="Srivastava, Ayush" userId="c01b8864-bd8d-4de8-bbf8-20cad289e861" providerId="ADAL" clId="{6515560B-589D-4A66-A240-A163C64A0A04}" dt="2021-08-24T15:37:42.208" v="2803" actId="20577"/>
          <ac:spMkLst>
            <pc:docMk/>
            <pc:sldMk cId="3935458817" sldId="2146847367"/>
            <ac:spMk id="257" creationId="{C1B3ACF1-44B4-4C6F-B4BA-C57314AD4BDB}"/>
          </ac:spMkLst>
        </pc:spChg>
        <pc:spChg chg="mod">
          <ac:chgData name="Srivastava, Ayush" userId="c01b8864-bd8d-4de8-bbf8-20cad289e861" providerId="ADAL" clId="{6515560B-589D-4A66-A240-A163C64A0A04}" dt="2021-08-24T15:37:47.547" v="2806" actId="20577"/>
          <ac:spMkLst>
            <pc:docMk/>
            <pc:sldMk cId="3935458817" sldId="2146847367"/>
            <ac:spMk id="258" creationId="{E5D80F36-D998-4858-B977-38F2202586E0}"/>
          </ac:spMkLst>
        </pc:spChg>
        <pc:spChg chg="mod">
          <ac:chgData name="Srivastava, Ayush" userId="c01b8864-bd8d-4de8-bbf8-20cad289e861" providerId="ADAL" clId="{6515560B-589D-4A66-A240-A163C64A0A04}" dt="2021-08-24T15:37:58.110" v="2812" actId="20577"/>
          <ac:spMkLst>
            <pc:docMk/>
            <pc:sldMk cId="3935458817" sldId="2146847367"/>
            <ac:spMk id="259" creationId="{6FC72F97-DADF-48D3-BDA4-1D3A7FE89311}"/>
          </ac:spMkLst>
        </pc:spChg>
        <pc:spChg chg="mod">
          <ac:chgData name="Srivastava, Ayush" userId="c01b8864-bd8d-4de8-bbf8-20cad289e861" providerId="ADAL" clId="{6515560B-589D-4A66-A240-A163C64A0A04}" dt="2021-08-24T15:38:18.003" v="2821" actId="20577"/>
          <ac:spMkLst>
            <pc:docMk/>
            <pc:sldMk cId="3935458817" sldId="2146847367"/>
            <ac:spMk id="260" creationId="{49467F65-E7C7-4DA5-8717-60695B6FE6C6}"/>
          </ac:spMkLst>
        </pc:spChg>
        <pc:spChg chg="mod">
          <ac:chgData name="Srivastava, Ayush" userId="c01b8864-bd8d-4de8-bbf8-20cad289e861" providerId="ADAL" clId="{6515560B-589D-4A66-A240-A163C64A0A04}" dt="2021-08-24T15:37:32.488" v="2800" actId="20577"/>
          <ac:spMkLst>
            <pc:docMk/>
            <pc:sldMk cId="3935458817" sldId="2146847367"/>
            <ac:spMk id="261" creationId="{1CDB94C3-F764-4A0B-9CF9-2024F78C0D1B}"/>
          </ac:spMkLst>
        </pc:spChg>
        <pc:spChg chg="mod">
          <ac:chgData name="Srivastava, Ayush" userId="c01b8864-bd8d-4de8-bbf8-20cad289e861" providerId="ADAL" clId="{6515560B-589D-4A66-A240-A163C64A0A04}" dt="2021-08-24T15:37:52.597" v="2809" actId="20577"/>
          <ac:spMkLst>
            <pc:docMk/>
            <pc:sldMk cId="3935458817" sldId="2146847367"/>
            <ac:spMk id="262" creationId="{90882B88-771D-402E-A2D6-3B0FAB5A3B88}"/>
          </ac:spMkLst>
        </pc:spChg>
        <pc:spChg chg="mod">
          <ac:chgData name="Srivastava, Ayush" userId="c01b8864-bd8d-4de8-bbf8-20cad289e861" providerId="ADAL" clId="{6515560B-589D-4A66-A240-A163C64A0A04}" dt="2021-08-24T15:38:04.360" v="2815" actId="20577"/>
          <ac:spMkLst>
            <pc:docMk/>
            <pc:sldMk cId="3935458817" sldId="2146847367"/>
            <ac:spMk id="263" creationId="{7069D3A7-286D-48AD-8215-F4EAD35524B1}"/>
          </ac:spMkLst>
        </pc:spChg>
        <pc:spChg chg="mod">
          <ac:chgData name="Srivastava, Ayush" userId="c01b8864-bd8d-4de8-bbf8-20cad289e861" providerId="ADAL" clId="{6515560B-589D-4A66-A240-A163C64A0A04}" dt="2021-08-24T15:35:02.299" v="2737" actId="14100"/>
          <ac:spMkLst>
            <pc:docMk/>
            <pc:sldMk cId="3935458817" sldId="2146847367"/>
            <ac:spMk id="264" creationId="{45663FB7-5990-42F6-8108-09CF80A4F31F}"/>
          </ac:spMkLst>
        </pc:spChg>
        <pc:spChg chg="mod">
          <ac:chgData name="Srivastava, Ayush" userId="c01b8864-bd8d-4de8-bbf8-20cad289e861" providerId="ADAL" clId="{6515560B-589D-4A66-A240-A163C64A0A04}" dt="2021-08-24T15:34:54.981" v="2736" actId="20577"/>
          <ac:spMkLst>
            <pc:docMk/>
            <pc:sldMk cId="3935458817" sldId="2146847367"/>
            <ac:spMk id="265" creationId="{B76AD24F-B23A-4CDF-97BC-2E265E964FFD}"/>
          </ac:spMkLst>
        </pc:spChg>
        <pc:spChg chg="mod">
          <ac:chgData name="Srivastava, Ayush" userId="c01b8864-bd8d-4de8-bbf8-20cad289e861" providerId="ADAL" clId="{6515560B-589D-4A66-A240-A163C64A0A04}" dt="2021-08-24T15:35:33.905" v="2749" actId="20577"/>
          <ac:spMkLst>
            <pc:docMk/>
            <pc:sldMk cId="3935458817" sldId="2146847367"/>
            <ac:spMk id="266" creationId="{B4B90596-D772-4EA6-8FD7-946B7099AA8F}"/>
          </ac:spMkLst>
        </pc:spChg>
        <pc:spChg chg="mod">
          <ac:chgData name="Srivastava, Ayush" userId="c01b8864-bd8d-4de8-bbf8-20cad289e861" providerId="ADAL" clId="{6515560B-589D-4A66-A240-A163C64A0A04}" dt="2021-08-24T15:35:39.918" v="2752" actId="20577"/>
          <ac:spMkLst>
            <pc:docMk/>
            <pc:sldMk cId="3935458817" sldId="2146847367"/>
            <ac:spMk id="267" creationId="{F4DE9205-F8BF-4F28-80D2-47F7F1532890}"/>
          </ac:spMkLst>
        </pc:spChg>
        <pc:spChg chg="mod">
          <ac:chgData name="Srivastava, Ayush" userId="c01b8864-bd8d-4de8-bbf8-20cad289e861" providerId="ADAL" clId="{6515560B-589D-4A66-A240-A163C64A0A04}" dt="2021-08-24T15:35:13.893" v="2740" actId="20577"/>
          <ac:spMkLst>
            <pc:docMk/>
            <pc:sldMk cId="3935458817" sldId="2146847367"/>
            <ac:spMk id="268" creationId="{8A4663C3-8AD5-442C-A9D0-7356A3FE0111}"/>
          </ac:spMkLst>
        </pc:spChg>
        <pc:spChg chg="mod">
          <ac:chgData name="Srivastava, Ayush" userId="c01b8864-bd8d-4de8-bbf8-20cad289e861" providerId="ADAL" clId="{6515560B-589D-4A66-A240-A163C64A0A04}" dt="2021-08-24T15:35:19.743" v="2743" actId="20577"/>
          <ac:spMkLst>
            <pc:docMk/>
            <pc:sldMk cId="3935458817" sldId="2146847367"/>
            <ac:spMk id="269" creationId="{9B2606C5-F99F-4FB3-99B5-CD8B13E2487C}"/>
          </ac:spMkLst>
        </pc:spChg>
        <pc:spChg chg="mod">
          <ac:chgData name="Srivastava, Ayush" userId="c01b8864-bd8d-4de8-bbf8-20cad289e861" providerId="ADAL" clId="{6515560B-589D-4A66-A240-A163C64A0A04}" dt="2021-08-24T15:35:44.314" v="2755" actId="20577"/>
          <ac:spMkLst>
            <pc:docMk/>
            <pc:sldMk cId="3935458817" sldId="2146847367"/>
            <ac:spMk id="270" creationId="{5FF701F2-9417-411F-9AA8-C184C8769690}"/>
          </ac:spMkLst>
        </pc:spChg>
        <pc:spChg chg="mod">
          <ac:chgData name="Srivastava, Ayush" userId="c01b8864-bd8d-4de8-bbf8-20cad289e861" providerId="ADAL" clId="{6515560B-589D-4A66-A240-A163C64A0A04}" dt="2021-08-24T15:35:26.746" v="2746" actId="20577"/>
          <ac:spMkLst>
            <pc:docMk/>
            <pc:sldMk cId="3935458817" sldId="2146847367"/>
            <ac:spMk id="271" creationId="{2B08BC60-00FE-423B-B816-96E7DF83500C}"/>
          </ac:spMkLst>
        </pc:spChg>
        <pc:spChg chg="mod">
          <ac:chgData name="Srivastava, Ayush" userId="c01b8864-bd8d-4de8-bbf8-20cad289e861" providerId="ADAL" clId="{6515560B-589D-4A66-A240-A163C64A0A04}" dt="2021-08-24T13:21:25.592" v="1572"/>
          <ac:spMkLst>
            <pc:docMk/>
            <pc:sldMk cId="3935458817" sldId="2146847367"/>
            <ac:spMk id="275" creationId="{87B07604-B852-427D-9AF9-6FCF8FC8F9E4}"/>
          </ac:spMkLst>
        </pc:spChg>
        <pc:spChg chg="mod">
          <ac:chgData name="Srivastava, Ayush" userId="c01b8864-bd8d-4de8-bbf8-20cad289e861" providerId="ADAL" clId="{6515560B-589D-4A66-A240-A163C64A0A04}" dt="2021-08-24T16:37:12.450" v="3413" actId="20577"/>
          <ac:spMkLst>
            <pc:docMk/>
            <pc:sldMk cId="3935458817" sldId="2146847367"/>
            <ac:spMk id="276" creationId="{FCEF8EA7-7FE5-4677-B67D-9D02929DED66}"/>
          </ac:spMkLst>
        </pc:spChg>
        <pc:spChg chg="mod">
          <ac:chgData name="Srivastava, Ayush" userId="c01b8864-bd8d-4de8-bbf8-20cad289e861" providerId="ADAL" clId="{6515560B-589D-4A66-A240-A163C64A0A04}" dt="2021-08-24T16:37:21.906" v="3416" actId="20577"/>
          <ac:spMkLst>
            <pc:docMk/>
            <pc:sldMk cId="3935458817" sldId="2146847367"/>
            <ac:spMk id="277" creationId="{B9BE65F8-991A-4D66-81BB-140C9DA5655B}"/>
          </ac:spMkLst>
        </pc:spChg>
        <pc:spChg chg="mod">
          <ac:chgData name="Srivastava, Ayush" userId="c01b8864-bd8d-4de8-bbf8-20cad289e861" providerId="ADAL" clId="{6515560B-589D-4A66-A240-A163C64A0A04}" dt="2021-08-24T16:37:27.749" v="3419" actId="20577"/>
          <ac:spMkLst>
            <pc:docMk/>
            <pc:sldMk cId="3935458817" sldId="2146847367"/>
            <ac:spMk id="278" creationId="{B8009ED1-4ABE-4414-8363-B2BAB20862EF}"/>
          </ac:spMkLst>
        </pc:spChg>
        <pc:spChg chg="mod">
          <ac:chgData name="Srivastava, Ayush" userId="c01b8864-bd8d-4de8-bbf8-20cad289e861" providerId="ADAL" clId="{6515560B-589D-4A66-A240-A163C64A0A04}" dt="2021-08-24T16:37:32.696" v="3422" actId="20577"/>
          <ac:spMkLst>
            <pc:docMk/>
            <pc:sldMk cId="3935458817" sldId="2146847367"/>
            <ac:spMk id="279" creationId="{6D82CD25-A17C-4401-BC15-AA4FFC7E2372}"/>
          </ac:spMkLst>
        </pc:spChg>
        <pc:spChg chg="mod">
          <ac:chgData name="Srivastava, Ayush" userId="c01b8864-bd8d-4de8-bbf8-20cad289e861" providerId="ADAL" clId="{6515560B-589D-4A66-A240-A163C64A0A04}" dt="2021-08-24T16:37:37.321" v="3425" actId="20577"/>
          <ac:spMkLst>
            <pc:docMk/>
            <pc:sldMk cId="3935458817" sldId="2146847367"/>
            <ac:spMk id="280" creationId="{651D258A-FB6B-41C8-AAE6-485B91DFD2D8}"/>
          </ac:spMkLst>
        </pc:spChg>
        <pc:spChg chg="mod">
          <ac:chgData name="Srivastava, Ayush" userId="c01b8864-bd8d-4de8-bbf8-20cad289e861" providerId="ADAL" clId="{6515560B-589D-4A66-A240-A163C64A0A04}" dt="2021-08-24T16:37:41.741" v="3428" actId="20577"/>
          <ac:spMkLst>
            <pc:docMk/>
            <pc:sldMk cId="3935458817" sldId="2146847367"/>
            <ac:spMk id="281" creationId="{28EC3413-2111-4775-9934-49473F502104}"/>
          </ac:spMkLst>
        </pc:spChg>
        <pc:spChg chg="mod">
          <ac:chgData name="Srivastava, Ayush" userId="c01b8864-bd8d-4de8-bbf8-20cad289e861" providerId="ADAL" clId="{6515560B-589D-4A66-A240-A163C64A0A04}" dt="2021-08-24T15:51:08.202" v="3103" actId="255"/>
          <ac:spMkLst>
            <pc:docMk/>
            <pc:sldMk cId="3935458817" sldId="2146847367"/>
            <ac:spMk id="282" creationId="{99A48126-9976-470B-B089-F59183561B7D}"/>
          </ac:spMkLst>
        </pc:spChg>
        <pc:spChg chg="mod">
          <ac:chgData name="Srivastava, Ayush" userId="c01b8864-bd8d-4de8-bbf8-20cad289e861" providerId="ADAL" clId="{6515560B-589D-4A66-A240-A163C64A0A04}" dt="2021-08-24T15:51:08.202" v="3103" actId="255"/>
          <ac:spMkLst>
            <pc:docMk/>
            <pc:sldMk cId="3935458817" sldId="2146847367"/>
            <ac:spMk id="286" creationId="{77BA0039-B0B4-4B7E-BA3D-DC6D33CAB86A}"/>
          </ac:spMkLst>
        </pc:spChg>
        <pc:spChg chg="mod">
          <ac:chgData name="Srivastava, Ayush" userId="c01b8864-bd8d-4de8-bbf8-20cad289e861" providerId="ADAL" clId="{6515560B-589D-4A66-A240-A163C64A0A04}" dt="2021-08-24T15:40:53.579" v="2883" actId="20577"/>
          <ac:spMkLst>
            <pc:docMk/>
            <pc:sldMk cId="3935458817" sldId="2146847367"/>
            <ac:spMk id="289" creationId="{DA4D3A38-108B-4F57-A49B-08520686EAD4}"/>
          </ac:spMkLst>
        </pc:spChg>
        <pc:spChg chg="mod">
          <ac:chgData name="Srivastava, Ayush" userId="c01b8864-bd8d-4de8-bbf8-20cad289e861" providerId="ADAL" clId="{6515560B-589D-4A66-A240-A163C64A0A04}" dt="2021-08-24T15:41:03.111" v="2886" actId="20577"/>
          <ac:spMkLst>
            <pc:docMk/>
            <pc:sldMk cId="3935458817" sldId="2146847367"/>
            <ac:spMk id="290" creationId="{2E6A3D11-9108-4AC7-87DD-073DEA0F1900}"/>
          </ac:spMkLst>
        </pc:spChg>
        <pc:spChg chg="mod">
          <ac:chgData name="Srivastava, Ayush" userId="c01b8864-bd8d-4de8-bbf8-20cad289e861" providerId="ADAL" clId="{6515560B-589D-4A66-A240-A163C64A0A04}" dt="2021-08-24T15:42:16.474" v="2920" actId="14100"/>
          <ac:spMkLst>
            <pc:docMk/>
            <pc:sldMk cId="3935458817" sldId="2146847367"/>
            <ac:spMk id="291" creationId="{F2ADE1E6-5F04-4B3E-B301-FE76D1DA5286}"/>
          </ac:spMkLst>
        </pc:spChg>
        <pc:spChg chg="mod">
          <ac:chgData name="Srivastava, Ayush" userId="c01b8864-bd8d-4de8-bbf8-20cad289e861" providerId="ADAL" clId="{6515560B-589D-4A66-A240-A163C64A0A04}" dt="2021-08-24T15:42:26.934" v="2937" actId="1038"/>
          <ac:spMkLst>
            <pc:docMk/>
            <pc:sldMk cId="3935458817" sldId="2146847367"/>
            <ac:spMk id="292" creationId="{2D4A87ED-4F6A-4C5E-83FD-848855E13923}"/>
          </ac:spMkLst>
        </pc:spChg>
        <pc:spChg chg="mod">
          <ac:chgData name="Srivastava, Ayush" userId="c01b8864-bd8d-4de8-bbf8-20cad289e861" providerId="ADAL" clId="{6515560B-589D-4A66-A240-A163C64A0A04}" dt="2021-08-24T15:42:26.934" v="2937" actId="1038"/>
          <ac:spMkLst>
            <pc:docMk/>
            <pc:sldMk cId="3935458817" sldId="2146847367"/>
            <ac:spMk id="293" creationId="{9DA64EC9-226B-47C0-8A40-B4A99A82E9A8}"/>
          </ac:spMkLst>
        </pc:spChg>
        <pc:spChg chg="mod">
          <ac:chgData name="Srivastava, Ayush" userId="c01b8864-bd8d-4de8-bbf8-20cad289e861" providerId="ADAL" clId="{6515560B-589D-4A66-A240-A163C64A0A04}" dt="2021-08-24T15:42:26.934" v="2937" actId="1038"/>
          <ac:spMkLst>
            <pc:docMk/>
            <pc:sldMk cId="3935458817" sldId="2146847367"/>
            <ac:spMk id="294" creationId="{824954BE-1F22-47A5-AA3C-8BB6E3E99A6A}"/>
          </ac:spMkLst>
        </pc:spChg>
        <pc:spChg chg="mod">
          <ac:chgData name="Srivastava, Ayush" userId="c01b8864-bd8d-4de8-bbf8-20cad289e861" providerId="ADAL" clId="{6515560B-589D-4A66-A240-A163C64A0A04}" dt="2021-08-24T15:42:26.934" v="2937" actId="1038"/>
          <ac:spMkLst>
            <pc:docMk/>
            <pc:sldMk cId="3935458817" sldId="2146847367"/>
            <ac:spMk id="295" creationId="{40894A65-84BF-4B73-AB7D-428C21ACD9EC}"/>
          </ac:spMkLst>
        </pc:spChg>
        <pc:spChg chg="mod">
          <ac:chgData name="Srivastava, Ayush" userId="c01b8864-bd8d-4de8-bbf8-20cad289e861" providerId="ADAL" clId="{6515560B-589D-4A66-A240-A163C64A0A04}" dt="2021-08-24T13:08:30.504" v="1258" actId="20577"/>
          <ac:spMkLst>
            <pc:docMk/>
            <pc:sldMk cId="3935458817" sldId="2146847367"/>
            <ac:spMk id="296" creationId="{CBF7E0AC-1CDA-47DE-B261-52AEE3121CE0}"/>
          </ac:spMkLst>
        </pc:spChg>
        <pc:spChg chg="mod">
          <ac:chgData name="Srivastava, Ayush" userId="c01b8864-bd8d-4de8-bbf8-20cad289e861" providerId="ADAL" clId="{6515560B-589D-4A66-A240-A163C64A0A04}" dt="2021-08-24T13:08:37.017" v="1264" actId="20577"/>
          <ac:spMkLst>
            <pc:docMk/>
            <pc:sldMk cId="3935458817" sldId="2146847367"/>
            <ac:spMk id="297" creationId="{E8D3F18B-6433-4056-B738-F82D81B228E9}"/>
          </ac:spMkLst>
        </pc:spChg>
        <pc:spChg chg="mod">
          <ac:chgData name="Srivastava, Ayush" userId="c01b8864-bd8d-4de8-bbf8-20cad289e861" providerId="ADAL" clId="{6515560B-589D-4A66-A240-A163C64A0A04}" dt="2021-08-24T13:08:40.755" v="1270" actId="20577"/>
          <ac:spMkLst>
            <pc:docMk/>
            <pc:sldMk cId="3935458817" sldId="2146847367"/>
            <ac:spMk id="298" creationId="{B73ABF3B-412A-4798-A81C-B8E7242452D3}"/>
          </ac:spMkLst>
        </pc:spChg>
        <pc:spChg chg="mod">
          <ac:chgData name="Srivastava, Ayush" userId="c01b8864-bd8d-4de8-bbf8-20cad289e861" providerId="ADAL" clId="{6515560B-589D-4A66-A240-A163C64A0A04}" dt="2021-08-24T13:08:46.066" v="1276" actId="20577"/>
          <ac:spMkLst>
            <pc:docMk/>
            <pc:sldMk cId="3935458817" sldId="2146847367"/>
            <ac:spMk id="299" creationId="{F0475DC1-EF71-4723-92D8-E0175534357B}"/>
          </ac:spMkLst>
        </pc:spChg>
        <pc:spChg chg="mod">
          <ac:chgData name="Srivastava, Ayush" userId="c01b8864-bd8d-4de8-bbf8-20cad289e861" providerId="ADAL" clId="{6515560B-589D-4A66-A240-A163C64A0A04}" dt="2021-08-24T15:54:46.234" v="3174" actId="403"/>
          <ac:spMkLst>
            <pc:docMk/>
            <pc:sldMk cId="3935458817" sldId="2146847367"/>
            <ac:spMk id="318" creationId="{A8DAF0EB-732F-4EF7-A0E8-EE5BE412A5F2}"/>
          </ac:spMkLst>
        </pc:spChg>
        <pc:spChg chg="mod">
          <ac:chgData name="Srivastava, Ayush" userId="c01b8864-bd8d-4de8-bbf8-20cad289e861" providerId="ADAL" clId="{6515560B-589D-4A66-A240-A163C64A0A04}" dt="2021-08-24T13:07:44.955" v="1205" actId="20577"/>
          <ac:spMkLst>
            <pc:docMk/>
            <pc:sldMk cId="3935458817" sldId="2146847367"/>
            <ac:spMk id="351" creationId="{0828070E-976A-4FD9-97FC-549785F1A2F5}"/>
          </ac:spMkLst>
        </pc:spChg>
        <pc:spChg chg="mod">
          <ac:chgData name="Srivastava, Ayush" userId="c01b8864-bd8d-4de8-bbf8-20cad289e861" providerId="ADAL" clId="{6515560B-589D-4A66-A240-A163C64A0A04}" dt="2021-08-24T13:07:50.097" v="1211" actId="20577"/>
          <ac:spMkLst>
            <pc:docMk/>
            <pc:sldMk cId="3935458817" sldId="2146847367"/>
            <ac:spMk id="352" creationId="{97CC0166-F046-425F-8291-E997556BF8AD}"/>
          </ac:spMkLst>
        </pc:spChg>
        <pc:spChg chg="mod">
          <ac:chgData name="Srivastava, Ayush" userId="c01b8864-bd8d-4de8-bbf8-20cad289e861" providerId="ADAL" clId="{6515560B-589D-4A66-A240-A163C64A0A04}" dt="2021-08-24T13:07:54.877" v="1218" actId="20577"/>
          <ac:spMkLst>
            <pc:docMk/>
            <pc:sldMk cId="3935458817" sldId="2146847367"/>
            <ac:spMk id="353" creationId="{5E0914AE-BF11-45D2-9C4B-D336495D1E47}"/>
          </ac:spMkLst>
        </pc:spChg>
        <pc:spChg chg="mod">
          <ac:chgData name="Srivastava, Ayush" userId="c01b8864-bd8d-4de8-bbf8-20cad289e861" providerId="ADAL" clId="{6515560B-589D-4A66-A240-A163C64A0A04}" dt="2021-08-24T13:07:59.385" v="1225" actId="20577"/>
          <ac:spMkLst>
            <pc:docMk/>
            <pc:sldMk cId="3935458817" sldId="2146847367"/>
            <ac:spMk id="354" creationId="{CED90EF2-1E53-4B49-A283-EA3988199392}"/>
          </ac:spMkLst>
        </pc:spChg>
        <pc:spChg chg="mod">
          <ac:chgData name="Srivastava, Ayush" userId="c01b8864-bd8d-4de8-bbf8-20cad289e861" providerId="ADAL" clId="{6515560B-589D-4A66-A240-A163C64A0A04}" dt="2021-08-24T13:08:04.529" v="1232" actId="20577"/>
          <ac:spMkLst>
            <pc:docMk/>
            <pc:sldMk cId="3935458817" sldId="2146847367"/>
            <ac:spMk id="355" creationId="{FDCE27AD-D64B-46D7-8D54-258E97F38B04}"/>
          </ac:spMkLst>
        </pc:spChg>
        <pc:spChg chg="mod">
          <ac:chgData name="Srivastava, Ayush" userId="c01b8864-bd8d-4de8-bbf8-20cad289e861" providerId="ADAL" clId="{6515560B-589D-4A66-A240-A163C64A0A04}" dt="2021-08-24T13:08:08.750" v="1239" actId="20577"/>
          <ac:spMkLst>
            <pc:docMk/>
            <pc:sldMk cId="3935458817" sldId="2146847367"/>
            <ac:spMk id="356" creationId="{020ED234-C109-4EB4-8F0E-C845A3888E60}"/>
          </ac:spMkLst>
        </pc:spChg>
        <pc:spChg chg="mod">
          <ac:chgData name="Srivastava, Ayush" userId="c01b8864-bd8d-4de8-bbf8-20cad289e861" providerId="ADAL" clId="{6515560B-589D-4A66-A240-A163C64A0A04}" dt="2021-08-24T13:08:16.033" v="1248" actId="20577"/>
          <ac:spMkLst>
            <pc:docMk/>
            <pc:sldMk cId="3935458817" sldId="2146847367"/>
            <ac:spMk id="357" creationId="{AF4983E8-9CD6-4D07-81B4-A5600B2F45B0}"/>
          </ac:spMkLst>
        </pc:spChg>
        <pc:spChg chg="mod">
          <ac:chgData name="Srivastava, Ayush" userId="c01b8864-bd8d-4de8-bbf8-20cad289e861" providerId="ADAL" clId="{6515560B-589D-4A66-A240-A163C64A0A04}" dt="2021-08-24T13:07:03.497" v="1157" actId="20577"/>
          <ac:spMkLst>
            <pc:docMk/>
            <pc:sldMk cId="3935458817" sldId="2146847367"/>
            <ac:spMk id="358" creationId="{C91FC61B-565C-4273-9155-7FBCE5E7BD10}"/>
          </ac:spMkLst>
        </pc:spChg>
        <pc:spChg chg="mod">
          <ac:chgData name="Srivastava, Ayush" userId="c01b8864-bd8d-4de8-bbf8-20cad289e861" providerId="ADAL" clId="{6515560B-589D-4A66-A240-A163C64A0A04}" dt="2021-08-24T15:54:49.773" v="3175" actId="403"/>
          <ac:spMkLst>
            <pc:docMk/>
            <pc:sldMk cId="3935458817" sldId="2146847367"/>
            <ac:spMk id="359" creationId="{78F3EB1D-6522-4822-B707-C3A288789728}"/>
          </ac:spMkLst>
        </pc:spChg>
        <pc:spChg chg="mod">
          <ac:chgData name="Srivastava, Ayush" userId="c01b8864-bd8d-4de8-bbf8-20cad289e861" providerId="ADAL" clId="{6515560B-589D-4A66-A240-A163C64A0A04}" dt="2021-08-24T13:06:35.388" v="1127" actId="20577"/>
          <ac:spMkLst>
            <pc:docMk/>
            <pc:sldMk cId="3935458817" sldId="2146847367"/>
            <ac:spMk id="361" creationId="{D90EC5B3-6E99-46E3-BE9A-9C009D776310}"/>
          </ac:spMkLst>
        </pc:spChg>
        <pc:spChg chg="mod">
          <ac:chgData name="Srivastava, Ayush" userId="c01b8864-bd8d-4de8-bbf8-20cad289e861" providerId="ADAL" clId="{6515560B-589D-4A66-A240-A163C64A0A04}" dt="2021-08-24T13:06:40.447" v="1133" actId="20577"/>
          <ac:spMkLst>
            <pc:docMk/>
            <pc:sldMk cId="3935458817" sldId="2146847367"/>
            <ac:spMk id="365" creationId="{82CAC892-4AA0-4B72-A358-E80354C81D0E}"/>
          </ac:spMkLst>
        </pc:spChg>
        <pc:spChg chg="mod">
          <ac:chgData name="Srivastava, Ayush" userId="c01b8864-bd8d-4de8-bbf8-20cad289e861" providerId="ADAL" clId="{6515560B-589D-4A66-A240-A163C64A0A04}" dt="2021-08-24T13:06:45.288" v="1139" actId="20577"/>
          <ac:spMkLst>
            <pc:docMk/>
            <pc:sldMk cId="3935458817" sldId="2146847367"/>
            <ac:spMk id="366" creationId="{821F849B-4AB6-4E67-815C-AB2F6FB3C8D6}"/>
          </ac:spMkLst>
        </pc:spChg>
        <pc:spChg chg="mod">
          <ac:chgData name="Srivastava, Ayush" userId="c01b8864-bd8d-4de8-bbf8-20cad289e861" providerId="ADAL" clId="{6515560B-589D-4A66-A240-A163C64A0A04}" dt="2021-08-24T13:06:52.510" v="1147" actId="20577"/>
          <ac:spMkLst>
            <pc:docMk/>
            <pc:sldMk cId="3935458817" sldId="2146847367"/>
            <ac:spMk id="367" creationId="{E5BBD3AA-5681-423C-82D3-6DF146CB0CE9}"/>
          </ac:spMkLst>
        </pc:spChg>
        <pc:spChg chg="mod">
          <ac:chgData name="Srivastava, Ayush" userId="c01b8864-bd8d-4de8-bbf8-20cad289e861" providerId="ADAL" clId="{6515560B-589D-4A66-A240-A163C64A0A04}" dt="2021-08-24T13:06:57.369" v="1153" actId="20577"/>
          <ac:spMkLst>
            <pc:docMk/>
            <pc:sldMk cId="3935458817" sldId="2146847367"/>
            <ac:spMk id="368" creationId="{32A2B2BF-89FE-4306-A719-DA96F3F7882D}"/>
          </ac:spMkLst>
        </pc:spChg>
        <pc:spChg chg="mod">
          <ac:chgData name="Srivastava, Ayush" userId="c01b8864-bd8d-4de8-bbf8-20cad289e861" providerId="ADAL" clId="{6515560B-589D-4A66-A240-A163C64A0A04}" dt="2021-08-24T13:06:27.538" v="1121" actId="20577"/>
          <ac:spMkLst>
            <pc:docMk/>
            <pc:sldMk cId="3935458817" sldId="2146847367"/>
            <ac:spMk id="369" creationId="{2927EDEE-7B6E-4888-9333-8D34668E62C8}"/>
          </ac:spMkLst>
        </pc:spChg>
        <pc:spChg chg="mod">
          <ac:chgData name="Srivastava, Ayush" userId="c01b8864-bd8d-4de8-bbf8-20cad289e861" providerId="ADAL" clId="{6515560B-589D-4A66-A240-A163C64A0A04}" dt="2021-08-24T15:54:54.567" v="3177" actId="403"/>
          <ac:spMkLst>
            <pc:docMk/>
            <pc:sldMk cId="3935458817" sldId="2146847367"/>
            <ac:spMk id="380" creationId="{56F1243F-6EDE-480B-8BA8-66008340DF18}"/>
          </ac:spMkLst>
        </pc:spChg>
        <pc:spChg chg="mod">
          <ac:chgData name="Srivastava, Ayush" userId="c01b8864-bd8d-4de8-bbf8-20cad289e861" providerId="ADAL" clId="{6515560B-589D-4A66-A240-A163C64A0A04}" dt="2021-08-24T15:54:58.742" v="3179" actId="403"/>
          <ac:spMkLst>
            <pc:docMk/>
            <pc:sldMk cId="3935458817" sldId="2146847367"/>
            <ac:spMk id="381" creationId="{1EBBF2EC-323E-45C0-9A06-3DB0CFAFFCE9}"/>
          </ac:spMkLst>
        </pc:spChg>
        <pc:spChg chg="mod">
          <ac:chgData name="Srivastava, Ayush" userId="c01b8864-bd8d-4de8-bbf8-20cad289e861" providerId="ADAL" clId="{6515560B-589D-4A66-A240-A163C64A0A04}" dt="2021-08-24T15:55:03.122" v="3181" actId="403"/>
          <ac:spMkLst>
            <pc:docMk/>
            <pc:sldMk cId="3935458817" sldId="2146847367"/>
            <ac:spMk id="382" creationId="{F653A7B4-EDC5-4687-9714-6496255F7943}"/>
          </ac:spMkLst>
        </pc:spChg>
        <pc:spChg chg="mod">
          <ac:chgData name="Srivastava, Ayush" userId="c01b8864-bd8d-4de8-bbf8-20cad289e861" providerId="ADAL" clId="{6515560B-589D-4A66-A240-A163C64A0A04}" dt="2021-08-24T15:55:07.989" v="3183" actId="403"/>
          <ac:spMkLst>
            <pc:docMk/>
            <pc:sldMk cId="3935458817" sldId="2146847367"/>
            <ac:spMk id="383" creationId="{365098AC-39CF-4B57-BE94-286399A54C10}"/>
          </ac:spMkLst>
        </pc:spChg>
        <pc:spChg chg="mod">
          <ac:chgData name="Srivastava, Ayush" userId="c01b8864-bd8d-4de8-bbf8-20cad289e861" providerId="ADAL" clId="{6515560B-589D-4A66-A240-A163C64A0A04}" dt="2021-08-24T15:55:12.103" v="3185" actId="403"/>
          <ac:spMkLst>
            <pc:docMk/>
            <pc:sldMk cId="3935458817" sldId="2146847367"/>
            <ac:spMk id="384" creationId="{C0A67BC3-4F63-4034-9532-411610D729C4}"/>
          </ac:spMkLst>
        </pc:spChg>
        <pc:spChg chg="mod">
          <ac:chgData name="Srivastava, Ayush" userId="c01b8864-bd8d-4de8-bbf8-20cad289e861" providerId="ADAL" clId="{6515560B-589D-4A66-A240-A163C64A0A04}" dt="2021-08-24T13:47:33.744" v="1941" actId="20577"/>
          <ac:spMkLst>
            <pc:docMk/>
            <pc:sldMk cId="3935458817" sldId="2146847367"/>
            <ac:spMk id="388" creationId="{7865EC0D-8770-4D96-A31A-E244D2886EFE}"/>
          </ac:spMkLst>
        </pc:spChg>
        <pc:spChg chg="mod">
          <ac:chgData name="Srivastava, Ayush" userId="c01b8864-bd8d-4de8-bbf8-20cad289e861" providerId="ADAL" clId="{6515560B-589D-4A66-A240-A163C64A0A04}" dt="2021-08-24T13:08:23.920" v="1252" actId="20577"/>
          <ac:spMkLst>
            <pc:docMk/>
            <pc:sldMk cId="3935458817" sldId="2146847367"/>
            <ac:spMk id="397" creationId="{4BA9FBEF-D80C-46F2-95E9-7D0CF3AE1CE6}"/>
          </ac:spMkLst>
        </pc:spChg>
        <pc:grpChg chg="mod">
          <ac:chgData name="Srivastava, Ayush" userId="c01b8864-bd8d-4de8-bbf8-20cad289e861" providerId="ADAL" clId="{6515560B-589D-4A66-A240-A163C64A0A04}" dt="2021-08-24T15:49:53.660" v="3082" actId="14100"/>
          <ac:grpSpMkLst>
            <pc:docMk/>
            <pc:sldMk cId="3935458817" sldId="2146847367"/>
            <ac:grpSpMk id="2" creationId="{34D374F3-8E60-4470-A7A4-02E51EF50300}"/>
          </ac:grpSpMkLst>
        </pc:grpChg>
        <pc:grpChg chg="mod">
          <ac:chgData name="Srivastava, Ayush" userId="c01b8864-bd8d-4de8-bbf8-20cad289e861" providerId="ADAL" clId="{6515560B-589D-4A66-A240-A163C64A0A04}" dt="2021-08-24T15:54:12.983" v="3171" actId="14100"/>
          <ac:grpSpMkLst>
            <pc:docMk/>
            <pc:sldMk cId="3935458817" sldId="2146847367"/>
            <ac:grpSpMk id="8" creationId="{A10D06A1-607B-4E4B-BF4D-B89F5010701C}"/>
          </ac:grpSpMkLst>
        </pc:grpChg>
        <pc:grpChg chg="mod">
          <ac:chgData name="Srivastava, Ayush" userId="c01b8864-bd8d-4de8-bbf8-20cad289e861" providerId="ADAL" clId="{6515560B-589D-4A66-A240-A163C64A0A04}" dt="2021-08-24T15:43:44.885" v="2950" actId="14100"/>
          <ac:grpSpMkLst>
            <pc:docMk/>
            <pc:sldMk cId="3935458817" sldId="2146847367"/>
            <ac:grpSpMk id="9" creationId="{D97DD14E-CD80-43D0-A1FC-B033218F5142}"/>
          </ac:grpSpMkLst>
        </pc:grpChg>
      </pc:sldChg>
      <pc:sldChg chg="addSp delSp modSp add del mod modClrScheme chgLayout">
        <pc:chgData name="Srivastava, Ayush" userId="c01b8864-bd8d-4de8-bbf8-20cad289e861" providerId="ADAL" clId="{6515560B-589D-4A66-A240-A163C64A0A04}" dt="2021-08-24T15:17:06.195" v="2500" actId="47"/>
        <pc:sldMkLst>
          <pc:docMk/>
          <pc:sldMk cId="4177588620" sldId="2146847368"/>
        </pc:sldMkLst>
        <pc:spChg chg="mod ord">
          <ac:chgData name="Srivastava, Ayush" userId="c01b8864-bd8d-4de8-bbf8-20cad289e861" providerId="ADAL" clId="{6515560B-589D-4A66-A240-A163C64A0A04}" dt="2021-08-24T15:16:58.879" v="2499" actId="1076"/>
          <ac:spMkLst>
            <pc:docMk/>
            <pc:sldMk cId="4177588620" sldId="2146847368"/>
            <ac:spMk id="2" creationId="{98DEF4BE-89FE-4B38-9249-A50705FB9524}"/>
          </ac:spMkLst>
        </pc:spChg>
        <pc:spChg chg="mod ord">
          <ac:chgData name="Srivastava, Ayush" userId="c01b8864-bd8d-4de8-bbf8-20cad289e861" providerId="ADAL" clId="{6515560B-589D-4A66-A240-A163C64A0A04}" dt="2021-08-24T13:11:48.130" v="1293" actId="700"/>
          <ac:spMkLst>
            <pc:docMk/>
            <pc:sldMk cId="4177588620" sldId="2146847368"/>
            <ac:spMk id="3" creationId="{42401A20-AC24-4EEE-B260-DC60B84A3BEF}"/>
          </ac:spMkLst>
        </pc:spChg>
        <pc:spChg chg="del mod ord">
          <ac:chgData name="Srivastava, Ayush" userId="c01b8864-bd8d-4de8-bbf8-20cad289e861" providerId="ADAL" clId="{6515560B-589D-4A66-A240-A163C64A0A04}" dt="2021-08-24T14:53:28.258" v="2300" actId="478"/>
          <ac:spMkLst>
            <pc:docMk/>
            <pc:sldMk cId="4177588620" sldId="2146847368"/>
            <ac:spMk id="4" creationId="{B38B14AF-B49F-41F5-8E26-05096D2E63C3}"/>
          </ac:spMkLst>
        </pc:spChg>
        <pc:spChg chg="add del mod">
          <ac:chgData name="Srivastava, Ayush" userId="c01b8864-bd8d-4de8-bbf8-20cad289e861" providerId="ADAL" clId="{6515560B-589D-4A66-A240-A163C64A0A04}" dt="2021-08-24T14:53:30.887" v="2301" actId="478"/>
          <ac:spMkLst>
            <pc:docMk/>
            <pc:sldMk cId="4177588620" sldId="2146847368"/>
            <ac:spMk id="6" creationId="{4F6F4574-B4D3-4E35-A78B-E6B4927C5FF8}"/>
          </ac:spMkLst>
        </pc:spChg>
        <pc:spChg chg="mod">
          <ac:chgData name="Srivastava, Ayush" userId="c01b8864-bd8d-4de8-bbf8-20cad289e861" providerId="ADAL" clId="{6515560B-589D-4A66-A240-A163C64A0A04}" dt="2021-08-24T15:06:53.815" v="2364" actId="14861"/>
          <ac:spMkLst>
            <pc:docMk/>
            <pc:sldMk cId="4177588620" sldId="2146847368"/>
            <ac:spMk id="13" creationId="{A2A2B339-34D0-4E4C-A64A-1D4F53CF4E1E}"/>
          </ac:spMkLst>
        </pc:spChg>
        <pc:spChg chg="mod">
          <ac:chgData name="Srivastava, Ayush" userId="c01b8864-bd8d-4de8-bbf8-20cad289e861" providerId="ADAL" clId="{6515560B-589D-4A66-A240-A163C64A0A04}" dt="2021-08-24T14:54:53.368" v="2316" actId="403"/>
          <ac:spMkLst>
            <pc:docMk/>
            <pc:sldMk cId="4177588620" sldId="2146847368"/>
            <ac:spMk id="14" creationId="{CC75590A-0B2A-4DC7-8276-6CF0AA6A570B}"/>
          </ac:spMkLst>
        </pc:spChg>
        <pc:spChg chg="mod">
          <ac:chgData name="Srivastava, Ayush" userId="c01b8864-bd8d-4de8-bbf8-20cad289e861" providerId="ADAL" clId="{6515560B-589D-4A66-A240-A163C64A0A04}" dt="2021-08-24T14:54:53.368" v="2316" actId="403"/>
          <ac:spMkLst>
            <pc:docMk/>
            <pc:sldMk cId="4177588620" sldId="2146847368"/>
            <ac:spMk id="23" creationId="{1C06B414-FC51-41C8-8FB0-3B8CBF313D11}"/>
          </ac:spMkLst>
        </pc:spChg>
        <pc:spChg chg="mod">
          <ac:chgData name="Srivastava, Ayush" userId="c01b8864-bd8d-4de8-bbf8-20cad289e861" providerId="ADAL" clId="{6515560B-589D-4A66-A240-A163C64A0A04}" dt="2021-08-24T14:54:53.368" v="2316" actId="403"/>
          <ac:spMkLst>
            <pc:docMk/>
            <pc:sldMk cId="4177588620" sldId="2146847368"/>
            <ac:spMk id="24" creationId="{9E1844B7-E4AB-4C61-A35C-F15C132A6968}"/>
          </ac:spMkLst>
        </pc:spChg>
        <pc:spChg chg="mod">
          <ac:chgData name="Srivastava, Ayush" userId="c01b8864-bd8d-4de8-bbf8-20cad289e861" providerId="ADAL" clId="{6515560B-589D-4A66-A240-A163C64A0A04}" dt="2021-08-24T14:54:53.368" v="2316" actId="403"/>
          <ac:spMkLst>
            <pc:docMk/>
            <pc:sldMk cId="4177588620" sldId="2146847368"/>
            <ac:spMk id="25" creationId="{5C47D989-D963-4F76-AB4D-F9856F5B50AC}"/>
          </ac:spMkLst>
        </pc:spChg>
        <pc:spChg chg="mod">
          <ac:chgData name="Srivastava, Ayush" userId="c01b8864-bd8d-4de8-bbf8-20cad289e861" providerId="ADAL" clId="{6515560B-589D-4A66-A240-A163C64A0A04}" dt="2021-08-24T14:54:53.368" v="2316" actId="403"/>
          <ac:spMkLst>
            <pc:docMk/>
            <pc:sldMk cId="4177588620" sldId="2146847368"/>
            <ac:spMk id="26" creationId="{4F7FFED5-22BA-47DE-898F-A456A970819E}"/>
          </ac:spMkLst>
        </pc:spChg>
        <pc:spChg chg="mod">
          <ac:chgData name="Srivastava, Ayush" userId="c01b8864-bd8d-4de8-bbf8-20cad289e861" providerId="ADAL" clId="{6515560B-589D-4A66-A240-A163C64A0A04}" dt="2021-08-24T14:54:53.368" v="2316" actId="403"/>
          <ac:spMkLst>
            <pc:docMk/>
            <pc:sldMk cId="4177588620" sldId="2146847368"/>
            <ac:spMk id="27" creationId="{33A613B4-48EB-4627-B175-58670DFB733D}"/>
          </ac:spMkLst>
        </pc:spChg>
        <pc:spChg chg="del mod">
          <ac:chgData name="Srivastava, Ayush" userId="c01b8864-bd8d-4de8-bbf8-20cad289e861" providerId="ADAL" clId="{6515560B-589D-4A66-A240-A163C64A0A04}" dt="2021-08-24T14:54:43.727" v="2312" actId="478"/>
          <ac:spMkLst>
            <pc:docMk/>
            <pc:sldMk cId="4177588620" sldId="2146847368"/>
            <ac:spMk id="28" creationId="{22449DAB-2376-4BE5-A672-98352E6E24B9}"/>
          </ac:spMkLst>
        </pc:spChg>
        <pc:spChg chg="mod">
          <ac:chgData name="Srivastava, Ayush" userId="c01b8864-bd8d-4de8-bbf8-20cad289e861" providerId="ADAL" clId="{6515560B-589D-4A66-A240-A163C64A0A04}" dt="2021-08-24T14:54:53.368" v="2316" actId="403"/>
          <ac:spMkLst>
            <pc:docMk/>
            <pc:sldMk cId="4177588620" sldId="2146847368"/>
            <ac:spMk id="29" creationId="{7D9E0D87-988B-41ED-A7F2-8BECCAA22274}"/>
          </ac:spMkLst>
        </pc:spChg>
        <pc:graphicFrameChg chg="mod modGraphic">
          <ac:chgData name="Srivastava, Ayush" userId="c01b8864-bd8d-4de8-bbf8-20cad289e861" providerId="ADAL" clId="{6515560B-589D-4A66-A240-A163C64A0A04}" dt="2021-08-24T15:10:43.852" v="2398" actId="33524"/>
          <ac:graphicFrameMkLst>
            <pc:docMk/>
            <pc:sldMk cId="4177588620" sldId="2146847368"/>
            <ac:graphicFrameMk id="15" creationId="{24FDDE7B-7BE6-4EFB-AEF1-669B0772DD9F}"/>
          </ac:graphicFrameMkLst>
        </pc:graphicFrameChg>
      </pc:sldChg>
      <pc:sldChg chg="modSp add mod modClrScheme chgLayout">
        <pc:chgData name="Srivastava, Ayush" userId="c01b8864-bd8d-4de8-bbf8-20cad289e861" providerId="ADAL" clId="{6515560B-589D-4A66-A240-A163C64A0A04}" dt="2021-08-24T16:15:39.848" v="3345" actId="2711"/>
        <pc:sldMkLst>
          <pc:docMk/>
          <pc:sldMk cId="2487914101" sldId="2146847369"/>
        </pc:sldMkLst>
        <pc:spChg chg="mod ord">
          <ac:chgData name="Srivastava, Ayush" userId="c01b8864-bd8d-4de8-bbf8-20cad289e861" providerId="ADAL" clId="{6515560B-589D-4A66-A240-A163C64A0A04}" dt="2021-08-24T15:24:21.019" v="2593" actId="108"/>
          <ac:spMkLst>
            <pc:docMk/>
            <pc:sldMk cId="2487914101" sldId="2146847369"/>
            <ac:spMk id="2" creationId="{98DEF4BE-89FE-4B38-9249-A50705FB9524}"/>
          </ac:spMkLst>
        </pc:spChg>
        <pc:spChg chg="mod ord">
          <ac:chgData name="Srivastava, Ayush" userId="c01b8864-bd8d-4de8-bbf8-20cad289e861" providerId="ADAL" clId="{6515560B-589D-4A66-A240-A163C64A0A04}" dt="2021-08-24T13:11:55.867" v="1295" actId="700"/>
          <ac:spMkLst>
            <pc:docMk/>
            <pc:sldMk cId="2487914101" sldId="2146847369"/>
            <ac:spMk id="3" creationId="{42401A20-AC24-4EEE-B260-DC60B84A3BEF}"/>
          </ac:spMkLst>
        </pc:spChg>
        <pc:spChg chg="mod ord">
          <ac:chgData name="Srivastava, Ayush" userId="c01b8864-bd8d-4de8-bbf8-20cad289e861" providerId="ADAL" clId="{6515560B-589D-4A66-A240-A163C64A0A04}" dt="2021-08-24T13:25:38.547" v="1606" actId="14100"/>
          <ac:spMkLst>
            <pc:docMk/>
            <pc:sldMk cId="2487914101" sldId="2146847369"/>
            <ac:spMk id="4" creationId="{B38B14AF-B49F-41F5-8E26-05096D2E63C3}"/>
          </ac:spMkLst>
        </pc:spChg>
        <pc:spChg chg="mod">
          <ac:chgData name="Srivastava, Ayush" userId="c01b8864-bd8d-4de8-bbf8-20cad289e861" providerId="ADAL" clId="{6515560B-589D-4A66-A240-A163C64A0A04}" dt="2021-08-24T13:35:44.246" v="1783" actId="14861"/>
          <ac:spMkLst>
            <pc:docMk/>
            <pc:sldMk cId="2487914101" sldId="2146847369"/>
            <ac:spMk id="15" creationId="{DBABFF14-2BFD-4C5D-8314-3F8E47A8F4D2}"/>
          </ac:spMkLst>
        </pc:spChg>
        <pc:spChg chg="mod">
          <ac:chgData name="Srivastava, Ayush" userId="c01b8864-bd8d-4de8-bbf8-20cad289e861" providerId="ADAL" clId="{6515560B-589D-4A66-A240-A163C64A0A04}" dt="2021-08-24T14:32:50.953" v="2186" actId="108"/>
          <ac:spMkLst>
            <pc:docMk/>
            <pc:sldMk cId="2487914101" sldId="2146847369"/>
            <ac:spMk id="16" creationId="{29F70C51-DB5F-453F-91CD-75CA9665A484}"/>
          </ac:spMkLst>
        </pc:spChg>
        <pc:spChg chg="mod">
          <ac:chgData name="Srivastava, Ayush" userId="c01b8864-bd8d-4de8-bbf8-20cad289e861" providerId="ADAL" clId="{6515560B-589D-4A66-A240-A163C64A0A04}" dt="2021-08-24T14:32:53.249" v="2187" actId="108"/>
          <ac:spMkLst>
            <pc:docMk/>
            <pc:sldMk cId="2487914101" sldId="2146847369"/>
            <ac:spMk id="17" creationId="{7EEB47F8-A8A5-4FFF-AEB0-8D7E32BCFBB5}"/>
          </ac:spMkLst>
        </pc:spChg>
        <pc:spChg chg="mod">
          <ac:chgData name="Srivastava, Ayush" userId="c01b8864-bd8d-4de8-bbf8-20cad289e861" providerId="ADAL" clId="{6515560B-589D-4A66-A240-A163C64A0A04}" dt="2021-08-24T14:32:55.469" v="2188" actId="108"/>
          <ac:spMkLst>
            <pc:docMk/>
            <pc:sldMk cId="2487914101" sldId="2146847369"/>
            <ac:spMk id="18" creationId="{BEA6FC86-8E8B-48AC-A4F0-63196338A220}"/>
          </ac:spMkLst>
        </pc:spChg>
        <pc:spChg chg="mod">
          <ac:chgData name="Srivastava, Ayush" userId="c01b8864-bd8d-4de8-bbf8-20cad289e861" providerId="ADAL" clId="{6515560B-589D-4A66-A240-A163C64A0A04}" dt="2021-08-24T14:32:57.890" v="2189" actId="108"/>
          <ac:spMkLst>
            <pc:docMk/>
            <pc:sldMk cId="2487914101" sldId="2146847369"/>
            <ac:spMk id="19" creationId="{95705CFB-6BAF-422F-A774-E090D53478CD}"/>
          </ac:spMkLst>
        </pc:spChg>
        <pc:spChg chg="mod">
          <ac:chgData name="Srivastava, Ayush" userId="c01b8864-bd8d-4de8-bbf8-20cad289e861" providerId="ADAL" clId="{6515560B-589D-4A66-A240-A163C64A0A04}" dt="2021-08-24T14:33:00.053" v="2190" actId="108"/>
          <ac:spMkLst>
            <pc:docMk/>
            <pc:sldMk cId="2487914101" sldId="2146847369"/>
            <ac:spMk id="20" creationId="{0FC72FCA-632A-4F33-9228-FF54A7E7D0E6}"/>
          </ac:spMkLst>
        </pc:spChg>
        <pc:spChg chg="mod">
          <ac:chgData name="Srivastava, Ayush" userId="c01b8864-bd8d-4de8-bbf8-20cad289e861" providerId="ADAL" clId="{6515560B-589D-4A66-A240-A163C64A0A04}" dt="2021-08-24T14:33:04.466" v="2191" actId="108"/>
          <ac:spMkLst>
            <pc:docMk/>
            <pc:sldMk cId="2487914101" sldId="2146847369"/>
            <ac:spMk id="21" creationId="{D1119EA2-5140-493E-AA28-ABA4A8387033}"/>
          </ac:spMkLst>
        </pc:spChg>
        <pc:spChg chg="mod">
          <ac:chgData name="Srivastava, Ayush" userId="c01b8864-bd8d-4de8-bbf8-20cad289e861" providerId="ADAL" clId="{6515560B-589D-4A66-A240-A163C64A0A04}" dt="2021-08-24T14:33:07.356" v="2192" actId="108"/>
          <ac:spMkLst>
            <pc:docMk/>
            <pc:sldMk cId="2487914101" sldId="2146847369"/>
            <ac:spMk id="22" creationId="{96709BDE-6C72-4C0E-9999-816AD82B2308}"/>
          </ac:spMkLst>
        </pc:spChg>
        <pc:graphicFrameChg chg="mod modGraphic">
          <ac:chgData name="Srivastava, Ayush" userId="c01b8864-bd8d-4de8-bbf8-20cad289e861" providerId="ADAL" clId="{6515560B-589D-4A66-A240-A163C64A0A04}" dt="2021-08-24T16:15:39.848" v="3345" actId="2711"/>
          <ac:graphicFrameMkLst>
            <pc:docMk/>
            <pc:sldMk cId="2487914101" sldId="2146847369"/>
            <ac:graphicFrameMk id="13" creationId="{E1D6C4B5-254E-4047-A991-6D4968ADE379}"/>
          </ac:graphicFrameMkLst>
        </pc:graphicFrameChg>
      </pc:sldChg>
      <pc:sldChg chg="modSp add mod modClrScheme chgLayout">
        <pc:chgData name="Srivastava, Ayush" userId="c01b8864-bd8d-4de8-bbf8-20cad289e861" providerId="ADAL" clId="{6515560B-589D-4A66-A240-A163C64A0A04}" dt="2021-08-24T16:15:20.322" v="3342" actId="2711"/>
        <pc:sldMkLst>
          <pc:docMk/>
          <pc:sldMk cId="1883859609" sldId="2146847370"/>
        </pc:sldMkLst>
        <pc:spChg chg="mod ord">
          <ac:chgData name="Srivastava, Ayush" userId="c01b8864-bd8d-4de8-bbf8-20cad289e861" providerId="ADAL" clId="{6515560B-589D-4A66-A240-A163C64A0A04}" dt="2021-08-24T15:24:31.102" v="2595" actId="108"/>
          <ac:spMkLst>
            <pc:docMk/>
            <pc:sldMk cId="1883859609" sldId="2146847370"/>
            <ac:spMk id="2" creationId="{98DEF4BE-89FE-4B38-9249-A50705FB9524}"/>
          </ac:spMkLst>
        </pc:spChg>
        <pc:spChg chg="mod ord">
          <ac:chgData name="Srivastava, Ayush" userId="c01b8864-bd8d-4de8-bbf8-20cad289e861" providerId="ADAL" clId="{6515560B-589D-4A66-A240-A163C64A0A04}" dt="2021-08-24T13:12:02.033" v="1297" actId="700"/>
          <ac:spMkLst>
            <pc:docMk/>
            <pc:sldMk cId="1883859609" sldId="2146847370"/>
            <ac:spMk id="3" creationId="{42401A20-AC24-4EEE-B260-DC60B84A3BEF}"/>
          </ac:spMkLst>
        </pc:spChg>
        <pc:spChg chg="mod ord">
          <ac:chgData name="Srivastava, Ayush" userId="c01b8864-bd8d-4de8-bbf8-20cad289e861" providerId="ADAL" clId="{6515560B-589D-4A66-A240-A163C64A0A04}" dt="2021-08-24T14:29:26.227" v="2151" actId="20577"/>
          <ac:spMkLst>
            <pc:docMk/>
            <pc:sldMk cId="1883859609" sldId="2146847370"/>
            <ac:spMk id="4" creationId="{B38B14AF-B49F-41F5-8E26-05096D2E63C3}"/>
          </ac:spMkLst>
        </pc:spChg>
        <pc:spChg chg="mod">
          <ac:chgData name="Srivastava, Ayush" userId="c01b8864-bd8d-4de8-bbf8-20cad289e861" providerId="ADAL" clId="{6515560B-589D-4A66-A240-A163C64A0A04}" dt="2021-08-24T14:31:50.157" v="2183" actId="1035"/>
          <ac:spMkLst>
            <pc:docMk/>
            <pc:sldMk cId="1883859609" sldId="2146847370"/>
            <ac:spMk id="13" creationId="{870B34B6-8B6C-496D-A3E4-FE2AAEEE9E8F}"/>
          </ac:spMkLst>
        </pc:spChg>
        <pc:spChg chg="mod">
          <ac:chgData name="Srivastava, Ayush" userId="c01b8864-bd8d-4de8-bbf8-20cad289e861" providerId="ADAL" clId="{6515560B-589D-4A66-A240-A163C64A0A04}" dt="2021-08-24T14:32:43" v="2185" actId="1036"/>
          <ac:spMkLst>
            <pc:docMk/>
            <pc:sldMk cId="1883859609" sldId="2146847370"/>
            <ac:spMk id="23" creationId="{81395D6B-72EA-4F2F-8A16-1D6E8D1D0909}"/>
          </ac:spMkLst>
        </pc:spChg>
        <pc:spChg chg="mod">
          <ac:chgData name="Srivastava, Ayush" userId="c01b8864-bd8d-4de8-bbf8-20cad289e861" providerId="ADAL" clId="{6515560B-589D-4A66-A240-A163C64A0A04}" dt="2021-08-24T14:32:43" v="2185" actId="1036"/>
          <ac:spMkLst>
            <pc:docMk/>
            <pc:sldMk cId="1883859609" sldId="2146847370"/>
            <ac:spMk id="24" creationId="{2F480C57-FD87-4E97-B19D-BA6BB47743DC}"/>
          </ac:spMkLst>
        </pc:spChg>
        <pc:spChg chg="mod">
          <ac:chgData name="Srivastava, Ayush" userId="c01b8864-bd8d-4de8-bbf8-20cad289e861" providerId="ADAL" clId="{6515560B-589D-4A66-A240-A163C64A0A04}" dt="2021-08-24T14:32:43" v="2185" actId="1036"/>
          <ac:spMkLst>
            <pc:docMk/>
            <pc:sldMk cId="1883859609" sldId="2146847370"/>
            <ac:spMk id="25" creationId="{90C18AFE-56BE-4E82-B97C-FBCA678AA3C3}"/>
          </ac:spMkLst>
        </pc:spChg>
        <pc:spChg chg="mod">
          <ac:chgData name="Srivastava, Ayush" userId="c01b8864-bd8d-4de8-bbf8-20cad289e861" providerId="ADAL" clId="{6515560B-589D-4A66-A240-A163C64A0A04}" dt="2021-08-24T14:32:43" v="2185" actId="1036"/>
          <ac:spMkLst>
            <pc:docMk/>
            <pc:sldMk cId="1883859609" sldId="2146847370"/>
            <ac:spMk id="26" creationId="{F16C31FB-FE00-45DB-8467-4C90C8A2AF90}"/>
          </ac:spMkLst>
        </pc:spChg>
        <pc:spChg chg="mod">
          <ac:chgData name="Srivastava, Ayush" userId="c01b8864-bd8d-4de8-bbf8-20cad289e861" providerId="ADAL" clId="{6515560B-589D-4A66-A240-A163C64A0A04}" dt="2021-08-24T14:32:43" v="2185" actId="1036"/>
          <ac:spMkLst>
            <pc:docMk/>
            <pc:sldMk cId="1883859609" sldId="2146847370"/>
            <ac:spMk id="27" creationId="{189386EC-7F9A-48A2-AF2E-5DAAF567D567}"/>
          </ac:spMkLst>
        </pc:spChg>
        <pc:spChg chg="mod">
          <ac:chgData name="Srivastava, Ayush" userId="c01b8864-bd8d-4de8-bbf8-20cad289e861" providerId="ADAL" clId="{6515560B-589D-4A66-A240-A163C64A0A04}" dt="2021-08-24T14:32:43" v="2185" actId="1036"/>
          <ac:spMkLst>
            <pc:docMk/>
            <pc:sldMk cId="1883859609" sldId="2146847370"/>
            <ac:spMk id="28" creationId="{08A86090-D253-4021-BC7F-B68E560C25D4}"/>
          </ac:spMkLst>
        </pc:spChg>
        <pc:spChg chg="mod">
          <ac:chgData name="Srivastava, Ayush" userId="c01b8864-bd8d-4de8-bbf8-20cad289e861" providerId="ADAL" clId="{6515560B-589D-4A66-A240-A163C64A0A04}" dt="2021-08-24T14:32:43" v="2185" actId="1036"/>
          <ac:spMkLst>
            <pc:docMk/>
            <pc:sldMk cId="1883859609" sldId="2146847370"/>
            <ac:spMk id="29" creationId="{436D9969-5228-441E-BB2B-467827D3A5AC}"/>
          </ac:spMkLst>
        </pc:spChg>
        <pc:graphicFrameChg chg="mod modGraphic">
          <ac:chgData name="Srivastava, Ayush" userId="c01b8864-bd8d-4de8-bbf8-20cad289e861" providerId="ADAL" clId="{6515560B-589D-4A66-A240-A163C64A0A04}" dt="2021-08-24T16:15:20.322" v="3342" actId="2711"/>
          <ac:graphicFrameMkLst>
            <pc:docMk/>
            <pc:sldMk cId="1883859609" sldId="2146847370"/>
            <ac:graphicFrameMk id="14" creationId="{F0423E4E-7FAD-4AB3-99B2-F24577B59D66}"/>
          </ac:graphicFrameMkLst>
        </pc:graphicFrameChg>
      </pc:sldChg>
      <pc:sldChg chg="modSp add mod modClrScheme chgLayout">
        <pc:chgData name="Srivastava, Ayush" userId="c01b8864-bd8d-4de8-bbf8-20cad289e861" providerId="ADAL" clId="{6515560B-589D-4A66-A240-A163C64A0A04}" dt="2021-08-24T16:14:27.561" v="3338" actId="2711"/>
        <pc:sldMkLst>
          <pc:docMk/>
          <pc:sldMk cId="420301549" sldId="2146847371"/>
        </pc:sldMkLst>
        <pc:spChg chg="mod ord">
          <ac:chgData name="Srivastava, Ayush" userId="c01b8864-bd8d-4de8-bbf8-20cad289e861" providerId="ADAL" clId="{6515560B-589D-4A66-A240-A163C64A0A04}" dt="2021-08-24T15:24:39.882" v="2597" actId="207"/>
          <ac:spMkLst>
            <pc:docMk/>
            <pc:sldMk cId="420301549" sldId="2146847371"/>
            <ac:spMk id="2" creationId="{98DEF4BE-89FE-4B38-9249-A50705FB9524}"/>
          </ac:spMkLst>
        </pc:spChg>
        <pc:spChg chg="mod ord">
          <ac:chgData name="Srivastava, Ayush" userId="c01b8864-bd8d-4de8-bbf8-20cad289e861" providerId="ADAL" clId="{6515560B-589D-4A66-A240-A163C64A0A04}" dt="2021-08-24T13:12:09.811" v="1299" actId="700"/>
          <ac:spMkLst>
            <pc:docMk/>
            <pc:sldMk cId="420301549" sldId="2146847371"/>
            <ac:spMk id="3" creationId="{42401A20-AC24-4EEE-B260-DC60B84A3BEF}"/>
          </ac:spMkLst>
        </pc:spChg>
        <pc:spChg chg="mod ord">
          <ac:chgData name="Srivastava, Ayush" userId="c01b8864-bd8d-4de8-bbf8-20cad289e861" providerId="ADAL" clId="{6515560B-589D-4A66-A240-A163C64A0A04}" dt="2021-08-24T13:41:56.352" v="1865" actId="14100"/>
          <ac:spMkLst>
            <pc:docMk/>
            <pc:sldMk cId="420301549" sldId="2146847371"/>
            <ac:spMk id="4" creationId="{B38B14AF-B49F-41F5-8E26-05096D2E63C3}"/>
          </ac:spMkLst>
        </pc:spChg>
        <pc:spChg chg="mod">
          <ac:chgData name="Srivastava, Ayush" userId="c01b8864-bd8d-4de8-bbf8-20cad289e861" providerId="ADAL" clId="{6515560B-589D-4A66-A240-A163C64A0A04}" dt="2021-08-24T14:31:04.241" v="2170" actId="1035"/>
          <ac:spMkLst>
            <pc:docMk/>
            <pc:sldMk cId="420301549" sldId="2146847371"/>
            <ac:spMk id="14" creationId="{CEC00EFF-ABEF-4126-A2FC-15FEEF420A47}"/>
          </ac:spMkLst>
        </pc:spChg>
        <pc:spChg chg="mod">
          <ac:chgData name="Srivastava, Ayush" userId="c01b8864-bd8d-4de8-bbf8-20cad289e861" providerId="ADAL" clId="{6515560B-589D-4A66-A240-A163C64A0A04}" dt="2021-08-24T14:31:04.241" v="2170" actId="1035"/>
          <ac:spMkLst>
            <pc:docMk/>
            <pc:sldMk cId="420301549" sldId="2146847371"/>
            <ac:spMk id="15" creationId="{F52395F5-8E77-478C-BF74-716C54901B76}"/>
          </ac:spMkLst>
        </pc:spChg>
        <pc:spChg chg="mod">
          <ac:chgData name="Srivastava, Ayush" userId="c01b8864-bd8d-4de8-bbf8-20cad289e861" providerId="ADAL" clId="{6515560B-589D-4A66-A240-A163C64A0A04}" dt="2021-08-24T14:31:04.241" v="2170" actId="1035"/>
          <ac:spMkLst>
            <pc:docMk/>
            <pc:sldMk cId="420301549" sldId="2146847371"/>
            <ac:spMk id="16" creationId="{74E6A126-C7E8-4BDA-8DC1-0CA75BAB5CC7}"/>
          </ac:spMkLst>
        </pc:spChg>
        <pc:spChg chg="mod">
          <ac:chgData name="Srivastava, Ayush" userId="c01b8864-bd8d-4de8-bbf8-20cad289e861" providerId="ADAL" clId="{6515560B-589D-4A66-A240-A163C64A0A04}" dt="2021-08-24T14:31:04.241" v="2170" actId="1035"/>
          <ac:spMkLst>
            <pc:docMk/>
            <pc:sldMk cId="420301549" sldId="2146847371"/>
            <ac:spMk id="17" creationId="{63805A79-7FD3-421F-9539-C947202A79C9}"/>
          </ac:spMkLst>
        </pc:spChg>
        <pc:spChg chg="mod">
          <ac:chgData name="Srivastava, Ayush" userId="c01b8864-bd8d-4de8-bbf8-20cad289e861" providerId="ADAL" clId="{6515560B-589D-4A66-A240-A163C64A0A04}" dt="2021-08-24T14:31:04.241" v="2170" actId="1035"/>
          <ac:spMkLst>
            <pc:docMk/>
            <pc:sldMk cId="420301549" sldId="2146847371"/>
            <ac:spMk id="18" creationId="{612E95BA-E704-43EF-B5F3-705BD273C153}"/>
          </ac:spMkLst>
        </pc:spChg>
        <pc:spChg chg="mod">
          <ac:chgData name="Srivastava, Ayush" userId="c01b8864-bd8d-4de8-bbf8-20cad289e861" providerId="ADAL" clId="{6515560B-589D-4A66-A240-A163C64A0A04}" dt="2021-08-24T14:31:04.241" v="2170" actId="1035"/>
          <ac:spMkLst>
            <pc:docMk/>
            <pc:sldMk cId="420301549" sldId="2146847371"/>
            <ac:spMk id="19" creationId="{38FFD226-FE6F-4765-BBC5-EFA231A3AC8C}"/>
          </ac:spMkLst>
        </pc:spChg>
        <pc:spChg chg="mod">
          <ac:chgData name="Srivastava, Ayush" userId="c01b8864-bd8d-4de8-bbf8-20cad289e861" providerId="ADAL" clId="{6515560B-589D-4A66-A240-A163C64A0A04}" dt="2021-08-24T14:31:04.241" v="2170" actId="1035"/>
          <ac:spMkLst>
            <pc:docMk/>
            <pc:sldMk cId="420301549" sldId="2146847371"/>
            <ac:spMk id="20" creationId="{875D4B8D-25F6-4212-9FA7-9EB826E91C76}"/>
          </ac:spMkLst>
        </pc:spChg>
        <pc:spChg chg="mod">
          <ac:chgData name="Srivastava, Ayush" userId="c01b8864-bd8d-4de8-bbf8-20cad289e861" providerId="ADAL" clId="{6515560B-589D-4A66-A240-A163C64A0A04}" dt="2021-08-24T14:31:04.241" v="2170" actId="1035"/>
          <ac:spMkLst>
            <pc:docMk/>
            <pc:sldMk cId="420301549" sldId="2146847371"/>
            <ac:spMk id="21" creationId="{A9AAEB2E-D3E7-4F7D-A4F7-746DCB403A4B}"/>
          </ac:spMkLst>
        </pc:spChg>
        <pc:spChg chg="mod">
          <ac:chgData name="Srivastava, Ayush" userId="c01b8864-bd8d-4de8-bbf8-20cad289e861" providerId="ADAL" clId="{6515560B-589D-4A66-A240-A163C64A0A04}" dt="2021-08-24T14:31:04.241" v="2170" actId="1035"/>
          <ac:spMkLst>
            <pc:docMk/>
            <pc:sldMk cId="420301549" sldId="2146847371"/>
            <ac:spMk id="22" creationId="{F0124069-E6FC-48CD-9056-34FDA817F631}"/>
          </ac:spMkLst>
        </pc:spChg>
        <pc:graphicFrameChg chg="mod modGraphic">
          <ac:chgData name="Srivastava, Ayush" userId="c01b8864-bd8d-4de8-bbf8-20cad289e861" providerId="ADAL" clId="{6515560B-589D-4A66-A240-A163C64A0A04}" dt="2021-08-24T16:14:27.561" v="3338" actId="2711"/>
          <ac:graphicFrameMkLst>
            <pc:docMk/>
            <pc:sldMk cId="420301549" sldId="2146847371"/>
            <ac:graphicFrameMk id="23" creationId="{B74133A7-F3E1-4784-9567-04A09AB646D7}"/>
          </ac:graphicFrameMkLst>
        </pc:graphicFrameChg>
      </pc:sldChg>
      <pc:sldChg chg="modSp add mod">
        <pc:chgData name="Srivastava, Ayush" userId="c01b8864-bd8d-4de8-bbf8-20cad289e861" providerId="ADAL" clId="{6515560B-589D-4A66-A240-A163C64A0A04}" dt="2021-08-24T16:15:50.439" v="3346" actId="2711"/>
        <pc:sldMkLst>
          <pc:docMk/>
          <pc:sldMk cId="2584431280" sldId="2146847372"/>
        </pc:sldMkLst>
        <pc:spChg chg="mod">
          <ac:chgData name="Srivastava, Ayush" userId="c01b8864-bd8d-4de8-bbf8-20cad289e861" providerId="ADAL" clId="{6515560B-589D-4A66-A240-A163C64A0A04}" dt="2021-08-24T15:24:15.021" v="2592" actId="108"/>
          <ac:spMkLst>
            <pc:docMk/>
            <pc:sldMk cId="2584431280" sldId="2146847372"/>
            <ac:spMk id="2" creationId="{98DEF4BE-89FE-4B38-9249-A50705FB9524}"/>
          </ac:spMkLst>
        </pc:spChg>
        <pc:spChg chg="mod">
          <ac:chgData name="Srivastava, Ayush" userId="c01b8864-bd8d-4de8-bbf8-20cad289e861" providerId="ADAL" clId="{6515560B-589D-4A66-A240-A163C64A0A04}" dt="2021-08-24T14:33:53.627" v="2206" actId="1035"/>
          <ac:spMkLst>
            <pc:docMk/>
            <pc:sldMk cId="2584431280" sldId="2146847372"/>
            <ac:spMk id="13" creationId="{A2A2B339-34D0-4E4C-A64A-1D4F53CF4E1E}"/>
          </ac:spMkLst>
        </pc:spChg>
        <pc:spChg chg="mod">
          <ac:chgData name="Srivastava, Ayush" userId="c01b8864-bd8d-4de8-bbf8-20cad289e861" providerId="ADAL" clId="{6515560B-589D-4A66-A240-A163C64A0A04}" dt="2021-08-24T14:33:53.627" v="2206" actId="1035"/>
          <ac:spMkLst>
            <pc:docMk/>
            <pc:sldMk cId="2584431280" sldId="2146847372"/>
            <ac:spMk id="14" creationId="{CC75590A-0B2A-4DC7-8276-6CF0AA6A570B}"/>
          </ac:spMkLst>
        </pc:spChg>
        <pc:spChg chg="mod">
          <ac:chgData name="Srivastava, Ayush" userId="c01b8864-bd8d-4de8-bbf8-20cad289e861" providerId="ADAL" clId="{6515560B-589D-4A66-A240-A163C64A0A04}" dt="2021-08-24T14:33:53.627" v="2206" actId="1035"/>
          <ac:spMkLst>
            <pc:docMk/>
            <pc:sldMk cId="2584431280" sldId="2146847372"/>
            <ac:spMk id="23" creationId="{1C06B414-FC51-41C8-8FB0-3B8CBF313D11}"/>
          </ac:spMkLst>
        </pc:spChg>
        <pc:spChg chg="mod">
          <ac:chgData name="Srivastava, Ayush" userId="c01b8864-bd8d-4de8-bbf8-20cad289e861" providerId="ADAL" clId="{6515560B-589D-4A66-A240-A163C64A0A04}" dt="2021-08-24T14:33:53.627" v="2206" actId="1035"/>
          <ac:spMkLst>
            <pc:docMk/>
            <pc:sldMk cId="2584431280" sldId="2146847372"/>
            <ac:spMk id="24" creationId="{9E1844B7-E4AB-4C61-A35C-F15C132A6968}"/>
          </ac:spMkLst>
        </pc:spChg>
        <pc:spChg chg="mod">
          <ac:chgData name="Srivastava, Ayush" userId="c01b8864-bd8d-4de8-bbf8-20cad289e861" providerId="ADAL" clId="{6515560B-589D-4A66-A240-A163C64A0A04}" dt="2021-08-24T14:33:53.627" v="2206" actId="1035"/>
          <ac:spMkLst>
            <pc:docMk/>
            <pc:sldMk cId="2584431280" sldId="2146847372"/>
            <ac:spMk id="25" creationId="{5C47D989-D963-4F76-AB4D-F9856F5B50AC}"/>
          </ac:spMkLst>
        </pc:spChg>
        <pc:spChg chg="mod">
          <ac:chgData name="Srivastava, Ayush" userId="c01b8864-bd8d-4de8-bbf8-20cad289e861" providerId="ADAL" clId="{6515560B-589D-4A66-A240-A163C64A0A04}" dt="2021-08-24T14:33:53.627" v="2206" actId="1035"/>
          <ac:spMkLst>
            <pc:docMk/>
            <pc:sldMk cId="2584431280" sldId="2146847372"/>
            <ac:spMk id="26" creationId="{4F7FFED5-22BA-47DE-898F-A456A970819E}"/>
          </ac:spMkLst>
        </pc:spChg>
        <pc:spChg chg="mod">
          <ac:chgData name="Srivastava, Ayush" userId="c01b8864-bd8d-4de8-bbf8-20cad289e861" providerId="ADAL" clId="{6515560B-589D-4A66-A240-A163C64A0A04}" dt="2021-08-24T14:33:53.627" v="2206" actId="1035"/>
          <ac:spMkLst>
            <pc:docMk/>
            <pc:sldMk cId="2584431280" sldId="2146847372"/>
            <ac:spMk id="27" creationId="{33A613B4-48EB-4627-B175-58670DFB733D}"/>
          </ac:spMkLst>
        </pc:spChg>
        <pc:spChg chg="mod">
          <ac:chgData name="Srivastava, Ayush" userId="c01b8864-bd8d-4de8-bbf8-20cad289e861" providerId="ADAL" clId="{6515560B-589D-4A66-A240-A163C64A0A04}" dt="2021-08-24T14:33:53.627" v="2206" actId="1035"/>
          <ac:spMkLst>
            <pc:docMk/>
            <pc:sldMk cId="2584431280" sldId="2146847372"/>
            <ac:spMk id="28" creationId="{22449DAB-2376-4BE5-A672-98352E6E24B9}"/>
          </ac:spMkLst>
        </pc:spChg>
        <pc:spChg chg="mod">
          <ac:chgData name="Srivastava, Ayush" userId="c01b8864-bd8d-4de8-bbf8-20cad289e861" providerId="ADAL" clId="{6515560B-589D-4A66-A240-A163C64A0A04}" dt="2021-08-24T14:33:53.627" v="2206" actId="1035"/>
          <ac:spMkLst>
            <pc:docMk/>
            <pc:sldMk cId="2584431280" sldId="2146847372"/>
            <ac:spMk id="29" creationId="{7D9E0D87-988B-41ED-A7F2-8BECCAA22274}"/>
          </ac:spMkLst>
        </pc:spChg>
        <pc:graphicFrameChg chg="modGraphic">
          <ac:chgData name="Srivastava, Ayush" userId="c01b8864-bd8d-4de8-bbf8-20cad289e861" providerId="ADAL" clId="{6515560B-589D-4A66-A240-A163C64A0A04}" dt="2021-08-24T16:15:50.439" v="3346" actId="2711"/>
          <ac:graphicFrameMkLst>
            <pc:docMk/>
            <pc:sldMk cId="2584431280" sldId="2146847372"/>
            <ac:graphicFrameMk id="15" creationId="{24FDDE7B-7BE6-4EFB-AEF1-669B0772DD9F}"/>
          </ac:graphicFrameMkLst>
        </pc:graphicFrameChg>
      </pc:sldChg>
      <pc:sldChg chg="addSp delSp modSp add mod">
        <pc:chgData name="Srivastava, Ayush" userId="c01b8864-bd8d-4de8-bbf8-20cad289e861" providerId="ADAL" clId="{6515560B-589D-4A66-A240-A163C64A0A04}" dt="2021-08-24T16:16:10.765" v="3350" actId="2711"/>
        <pc:sldMkLst>
          <pc:docMk/>
          <pc:sldMk cId="1129342914" sldId="2146847373"/>
        </pc:sldMkLst>
        <pc:spChg chg="mod">
          <ac:chgData name="Srivastava, Ayush" userId="c01b8864-bd8d-4de8-bbf8-20cad289e861" providerId="ADAL" clId="{6515560B-589D-4A66-A240-A163C64A0A04}" dt="2021-08-24T15:23:12.990" v="2585" actId="207"/>
          <ac:spMkLst>
            <pc:docMk/>
            <pc:sldMk cId="1129342914" sldId="2146847373"/>
            <ac:spMk id="2" creationId="{98DEF4BE-89FE-4B38-9249-A50705FB9524}"/>
          </ac:spMkLst>
        </pc:spChg>
        <pc:spChg chg="mod">
          <ac:chgData name="Srivastava, Ayush" userId="c01b8864-bd8d-4de8-bbf8-20cad289e861" providerId="ADAL" clId="{6515560B-589D-4A66-A240-A163C64A0A04}" dt="2021-08-24T13:57:52.067" v="2017" actId="20577"/>
          <ac:spMkLst>
            <pc:docMk/>
            <pc:sldMk cId="1129342914" sldId="2146847373"/>
            <ac:spMk id="4" creationId="{B38B14AF-B49F-41F5-8E26-05096D2E63C3}"/>
          </ac:spMkLst>
        </pc:spChg>
        <pc:spChg chg="mod">
          <ac:chgData name="Srivastava, Ayush" userId="c01b8864-bd8d-4de8-bbf8-20cad289e861" providerId="ADAL" clId="{6515560B-589D-4A66-A240-A163C64A0A04}" dt="2021-08-24T14:34:04.147" v="2207" actId="108"/>
          <ac:spMkLst>
            <pc:docMk/>
            <pc:sldMk cId="1129342914" sldId="2146847373"/>
            <ac:spMk id="14" creationId="{CC75590A-0B2A-4DC7-8276-6CF0AA6A570B}"/>
          </ac:spMkLst>
        </pc:spChg>
        <pc:spChg chg="mod">
          <ac:chgData name="Srivastava, Ayush" userId="c01b8864-bd8d-4de8-bbf8-20cad289e861" providerId="ADAL" clId="{6515560B-589D-4A66-A240-A163C64A0A04}" dt="2021-08-24T14:34:07.439" v="2208" actId="108"/>
          <ac:spMkLst>
            <pc:docMk/>
            <pc:sldMk cId="1129342914" sldId="2146847373"/>
            <ac:spMk id="23" creationId="{1C06B414-FC51-41C8-8FB0-3B8CBF313D11}"/>
          </ac:spMkLst>
        </pc:spChg>
        <pc:spChg chg="mod">
          <ac:chgData name="Srivastava, Ayush" userId="c01b8864-bd8d-4de8-bbf8-20cad289e861" providerId="ADAL" clId="{6515560B-589D-4A66-A240-A163C64A0A04}" dt="2021-08-24T14:34:15.409" v="2212" actId="108"/>
          <ac:spMkLst>
            <pc:docMk/>
            <pc:sldMk cId="1129342914" sldId="2146847373"/>
            <ac:spMk id="24" creationId="{9E1844B7-E4AB-4C61-A35C-F15C132A6968}"/>
          </ac:spMkLst>
        </pc:spChg>
        <pc:spChg chg="mod">
          <ac:chgData name="Srivastava, Ayush" userId="c01b8864-bd8d-4de8-bbf8-20cad289e861" providerId="ADAL" clId="{6515560B-589D-4A66-A240-A163C64A0A04}" dt="2021-08-24T14:37:54.217" v="2213" actId="108"/>
          <ac:spMkLst>
            <pc:docMk/>
            <pc:sldMk cId="1129342914" sldId="2146847373"/>
            <ac:spMk id="25" creationId="{5C47D989-D963-4F76-AB4D-F9856F5B50AC}"/>
          </ac:spMkLst>
        </pc:spChg>
        <pc:spChg chg="mod">
          <ac:chgData name="Srivastava, Ayush" userId="c01b8864-bd8d-4de8-bbf8-20cad289e861" providerId="ADAL" clId="{6515560B-589D-4A66-A240-A163C64A0A04}" dt="2021-08-24T14:34:09.492" v="2209" actId="108"/>
          <ac:spMkLst>
            <pc:docMk/>
            <pc:sldMk cId="1129342914" sldId="2146847373"/>
            <ac:spMk id="26" creationId="{4F7FFED5-22BA-47DE-898F-A456A970819E}"/>
          </ac:spMkLst>
        </pc:spChg>
        <pc:spChg chg="mod">
          <ac:chgData name="Srivastava, Ayush" userId="c01b8864-bd8d-4de8-bbf8-20cad289e861" providerId="ADAL" clId="{6515560B-589D-4A66-A240-A163C64A0A04}" dt="2021-08-24T14:34:11.597" v="2210" actId="108"/>
          <ac:spMkLst>
            <pc:docMk/>
            <pc:sldMk cId="1129342914" sldId="2146847373"/>
            <ac:spMk id="27" creationId="{33A613B4-48EB-4627-B175-58670DFB733D}"/>
          </ac:spMkLst>
        </pc:spChg>
        <pc:spChg chg="mod">
          <ac:chgData name="Srivastava, Ayush" userId="c01b8864-bd8d-4de8-bbf8-20cad289e861" providerId="ADAL" clId="{6515560B-589D-4A66-A240-A163C64A0A04}" dt="2021-08-24T14:37:57.156" v="2214" actId="108"/>
          <ac:spMkLst>
            <pc:docMk/>
            <pc:sldMk cId="1129342914" sldId="2146847373"/>
            <ac:spMk id="28" creationId="{22449DAB-2376-4BE5-A672-98352E6E24B9}"/>
          </ac:spMkLst>
        </pc:spChg>
        <pc:spChg chg="mod">
          <ac:chgData name="Srivastava, Ayush" userId="c01b8864-bd8d-4de8-bbf8-20cad289e861" providerId="ADAL" clId="{6515560B-589D-4A66-A240-A163C64A0A04}" dt="2021-08-24T14:34:13.282" v="2211" actId="108"/>
          <ac:spMkLst>
            <pc:docMk/>
            <pc:sldMk cId="1129342914" sldId="2146847373"/>
            <ac:spMk id="29" creationId="{7D9E0D87-988B-41ED-A7F2-8BECCAA22274}"/>
          </ac:spMkLst>
        </pc:spChg>
        <pc:graphicFrameChg chg="add del mod modGraphic">
          <ac:chgData name="Srivastava, Ayush" userId="c01b8864-bd8d-4de8-bbf8-20cad289e861" providerId="ADAL" clId="{6515560B-589D-4A66-A240-A163C64A0A04}" dt="2021-08-24T14:00:35.041" v="2029" actId="478"/>
          <ac:graphicFrameMkLst>
            <pc:docMk/>
            <pc:sldMk cId="1129342914" sldId="2146847373"/>
            <ac:graphicFrameMk id="5" creationId="{23EC27D1-A665-4E8F-B41A-0C991A1D705A}"/>
          </ac:graphicFrameMkLst>
        </pc:graphicFrameChg>
        <pc:graphicFrameChg chg="mod modGraphic">
          <ac:chgData name="Srivastava, Ayush" userId="c01b8864-bd8d-4de8-bbf8-20cad289e861" providerId="ADAL" clId="{6515560B-589D-4A66-A240-A163C64A0A04}" dt="2021-08-24T16:16:10.765" v="3350" actId="2711"/>
          <ac:graphicFrameMkLst>
            <pc:docMk/>
            <pc:sldMk cId="1129342914" sldId="2146847373"/>
            <ac:graphicFrameMk id="15" creationId="{24FDDE7B-7BE6-4EFB-AEF1-669B0772DD9F}"/>
          </ac:graphicFrameMkLst>
        </pc:graphicFrameChg>
      </pc:sldChg>
      <pc:sldChg chg="delSp modSp add mod">
        <pc:chgData name="Srivastava, Ayush" userId="c01b8864-bd8d-4de8-bbf8-20cad289e861" providerId="ADAL" clId="{6515560B-589D-4A66-A240-A163C64A0A04}" dt="2021-08-24T16:15:58.570" v="3347" actId="2711"/>
        <pc:sldMkLst>
          <pc:docMk/>
          <pc:sldMk cId="3795325203" sldId="2146847374"/>
        </pc:sldMkLst>
        <pc:spChg chg="mod">
          <ac:chgData name="Srivastava, Ayush" userId="c01b8864-bd8d-4de8-bbf8-20cad289e861" providerId="ADAL" clId="{6515560B-589D-4A66-A240-A163C64A0A04}" dt="2021-08-24T15:23:57.650" v="2590" actId="108"/>
          <ac:spMkLst>
            <pc:docMk/>
            <pc:sldMk cId="3795325203" sldId="2146847374"/>
            <ac:spMk id="2" creationId="{98DEF4BE-89FE-4B38-9249-A50705FB9524}"/>
          </ac:spMkLst>
        </pc:spChg>
        <pc:spChg chg="mod">
          <ac:chgData name="Srivastava, Ayush" userId="c01b8864-bd8d-4de8-bbf8-20cad289e861" providerId="ADAL" clId="{6515560B-589D-4A66-A240-A163C64A0A04}" dt="2021-08-24T14:03:16.047" v="2068" actId="20577"/>
          <ac:spMkLst>
            <pc:docMk/>
            <pc:sldMk cId="3795325203" sldId="2146847374"/>
            <ac:spMk id="4" creationId="{B38B14AF-B49F-41F5-8E26-05096D2E63C3}"/>
          </ac:spMkLst>
        </pc:spChg>
        <pc:spChg chg="mod">
          <ac:chgData name="Srivastava, Ayush" userId="c01b8864-bd8d-4de8-bbf8-20cad289e861" providerId="ADAL" clId="{6515560B-589D-4A66-A240-A163C64A0A04}" dt="2021-08-24T14:39:27.264" v="2228" actId="108"/>
          <ac:spMkLst>
            <pc:docMk/>
            <pc:sldMk cId="3795325203" sldId="2146847374"/>
            <ac:spMk id="13" creationId="{A2A2B339-34D0-4E4C-A64A-1D4F53CF4E1E}"/>
          </ac:spMkLst>
        </pc:spChg>
        <pc:spChg chg="mod">
          <ac:chgData name="Srivastava, Ayush" userId="c01b8864-bd8d-4de8-bbf8-20cad289e861" providerId="ADAL" clId="{6515560B-589D-4A66-A240-A163C64A0A04}" dt="2021-08-24T14:39:13.927" v="2223" actId="108"/>
          <ac:spMkLst>
            <pc:docMk/>
            <pc:sldMk cId="3795325203" sldId="2146847374"/>
            <ac:spMk id="14" creationId="{CC75590A-0B2A-4DC7-8276-6CF0AA6A570B}"/>
          </ac:spMkLst>
        </pc:spChg>
        <pc:spChg chg="mod">
          <ac:chgData name="Srivastava, Ayush" userId="c01b8864-bd8d-4de8-bbf8-20cad289e861" providerId="ADAL" clId="{6515560B-589D-4A66-A240-A163C64A0A04}" dt="2021-08-24T14:39:19.394" v="2224" actId="108"/>
          <ac:spMkLst>
            <pc:docMk/>
            <pc:sldMk cId="3795325203" sldId="2146847374"/>
            <ac:spMk id="23" creationId="{1C06B414-FC51-41C8-8FB0-3B8CBF313D11}"/>
          </ac:spMkLst>
        </pc:spChg>
        <pc:spChg chg="mod">
          <ac:chgData name="Srivastava, Ayush" userId="c01b8864-bd8d-4de8-bbf8-20cad289e861" providerId="ADAL" clId="{6515560B-589D-4A66-A240-A163C64A0A04}" dt="2021-08-24T14:39:34.814" v="2230" actId="108"/>
          <ac:spMkLst>
            <pc:docMk/>
            <pc:sldMk cId="3795325203" sldId="2146847374"/>
            <ac:spMk id="24" creationId="{9E1844B7-E4AB-4C61-A35C-F15C132A6968}"/>
          </ac:spMkLst>
        </pc:spChg>
        <pc:spChg chg="mod">
          <ac:chgData name="Srivastava, Ayush" userId="c01b8864-bd8d-4de8-bbf8-20cad289e861" providerId="ADAL" clId="{6515560B-589D-4A66-A240-A163C64A0A04}" dt="2021-08-24T14:39:37.018" v="2231" actId="108"/>
          <ac:spMkLst>
            <pc:docMk/>
            <pc:sldMk cId="3795325203" sldId="2146847374"/>
            <ac:spMk id="25" creationId="{5C47D989-D963-4F76-AB4D-F9856F5B50AC}"/>
          </ac:spMkLst>
        </pc:spChg>
        <pc:spChg chg="mod">
          <ac:chgData name="Srivastava, Ayush" userId="c01b8864-bd8d-4de8-bbf8-20cad289e861" providerId="ADAL" clId="{6515560B-589D-4A66-A240-A163C64A0A04}" dt="2021-08-24T14:39:21.383" v="2225" actId="108"/>
          <ac:spMkLst>
            <pc:docMk/>
            <pc:sldMk cId="3795325203" sldId="2146847374"/>
            <ac:spMk id="26" creationId="{4F7FFED5-22BA-47DE-898F-A456A970819E}"/>
          </ac:spMkLst>
        </pc:spChg>
        <pc:spChg chg="mod">
          <ac:chgData name="Srivastava, Ayush" userId="c01b8864-bd8d-4de8-bbf8-20cad289e861" providerId="ADAL" clId="{6515560B-589D-4A66-A240-A163C64A0A04}" dt="2021-08-24T14:39:23.251" v="2226" actId="108"/>
          <ac:spMkLst>
            <pc:docMk/>
            <pc:sldMk cId="3795325203" sldId="2146847374"/>
            <ac:spMk id="27" creationId="{33A613B4-48EB-4627-B175-58670DFB733D}"/>
          </ac:spMkLst>
        </pc:spChg>
        <pc:spChg chg="del">
          <ac:chgData name="Srivastava, Ayush" userId="c01b8864-bd8d-4de8-bbf8-20cad289e861" providerId="ADAL" clId="{6515560B-589D-4A66-A240-A163C64A0A04}" dt="2021-08-24T14:15:21.858" v="2143" actId="478"/>
          <ac:spMkLst>
            <pc:docMk/>
            <pc:sldMk cId="3795325203" sldId="2146847374"/>
            <ac:spMk id="28" creationId="{22449DAB-2376-4BE5-A672-98352E6E24B9}"/>
          </ac:spMkLst>
        </pc:spChg>
        <pc:spChg chg="mod">
          <ac:chgData name="Srivastava, Ayush" userId="c01b8864-bd8d-4de8-bbf8-20cad289e861" providerId="ADAL" clId="{6515560B-589D-4A66-A240-A163C64A0A04}" dt="2021-08-24T14:39:31.821" v="2229" actId="108"/>
          <ac:spMkLst>
            <pc:docMk/>
            <pc:sldMk cId="3795325203" sldId="2146847374"/>
            <ac:spMk id="29" creationId="{7D9E0D87-988B-41ED-A7F2-8BECCAA22274}"/>
          </ac:spMkLst>
        </pc:spChg>
        <pc:graphicFrameChg chg="mod modGraphic">
          <ac:chgData name="Srivastava, Ayush" userId="c01b8864-bd8d-4de8-bbf8-20cad289e861" providerId="ADAL" clId="{6515560B-589D-4A66-A240-A163C64A0A04}" dt="2021-08-24T16:15:58.570" v="3347" actId="2711"/>
          <ac:graphicFrameMkLst>
            <pc:docMk/>
            <pc:sldMk cId="3795325203" sldId="2146847374"/>
            <ac:graphicFrameMk id="15" creationId="{24FDDE7B-7BE6-4EFB-AEF1-669B0772DD9F}"/>
          </ac:graphicFrameMkLst>
        </pc:graphicFrameChg>
      </pc:sldChg>
      <pc:sldChg chg="delSp modSp add mod ord">
        <pc:chgData name="Srivastava, Ayush" userId="c01b8864-bd8d-4de8-bbf8-20cad289e861" providerId="ADAL" clId="{6515560B-589D-4A66-A240-A163C64A0A04}" dt="2021-08-24T16:20:25.997" v="3370"/>
        <pc:sldMkLst>
          <pc:docMk/>
          <pc:sldMk cId="1461060297" sldId="2146847375"/>
        </pc:sldMkLst>
        <pc:spChg chg="mod">
          <ac:chgData name="Srivastava, Ayush" userId="c01b8864-bd8d-4de8-bbf8-20cad289e861" providerId="ADAL" clId="{6515560B-589D-4A66-A240-A163C64A0A04}" dt="2021-08-24T16:11:11.835" v="3299" actId="20577"/>
          <ac:spMkLst>
            <pc:docMk/>
            <pc:sldMk cId="1461060297" sldId="2146847375"/>
            <ac:spMk id="2" creationId="{98DEF4BE-89FE-4B38-9249-A50705FB9524}"/>
          </ac:spMkLst>
        </pc:spChg>
        <pc:spChg chg="mod">
          <ac:chgData name="Srivastava, Ayush" userId="c01b8864-bd8d-4de8-bbf8-20cad289e861" providerId="ADAL" clId="{6515560B-589D-4A66-A240-A163C64A0A04}" dt="2021-08-24T16:11:08.869" v="3297"/>
          <ac:spMkLst>
            <pc:docMk/>
            <pc:sldMk cId="1461060297" sldId="2146847375"/>
            <ac:spMk id="4" creationId="{B38B14AF-B49F-41F5-8E26-05096D2E63C3}"/>
          </ac:spMkLst>
        </pc:spChg>
        <pc:spChg chg="mod">
          <ac:chgData name="Srivastava, Ayush" userId="c01b8864-bd8d-4de8-bbf8-20cad289e861" providerId="ADAL" clId="{6515560B-589D-4A66-A240-A163C64A0A04}" dt="2021-08-24T16:13:07.671" v="3331" actId="122"/>
          <ac:spMkLst>
            <pc:docMk/>
            <pc:sldMk cId="1461060297" sldId="2146847375"/>
            <ac:spMk id="13" creationId="{A2A2B339-34D0-4E4C-A64A-1D4F53CF4E1E}"/>
          </ac:spMkLst>
        </pc:spChg>
        <pc:spChg chg="mod">
          <ac:chgData name="Srivastava, Ayush" userId="c01b8864-bd8d-4de8-bbf8-20cad289e861" providerId="ADAL" clId="{6515560B-589D-4A66-A240-A163C64A0A04}" dt="2021-08-24T16:13:07.671" v="3331" actId="122"/>
          <ac:spMkLst>
            <pc:docMk/>
            <pc:sldMk cId="1461060297" sldId="2146847375"/>
            <ac:spMk id="14" creationId="{CC75590A-0B2A-4DC7-8276-6CF0AA6A570B}"/>
          </ac:spMkLst>
        </pc:spChg>
        <pc:spChg chg="mod">
          <ac:chgData name="Srivastava, Ayush" userId="c01b8864-bd8d-4de8-bbf8-20cad289e861" providerId="ADAL" clId="{6515560B-589D-4A66-A240-A163C64A0A04}" dt="2021-08-24T16:13:07.671" v="3331" actId="122"/>
          <ac:spMkLst>
            <pc:docMk/>
            <pc:sldMk cId="1461060297" sldId="2146847375"/>
            <ac:spMk id="23" creationId="{1C06B414-FC51-41C8-8FB0-3B8CBF313D11}"/>
          </ac:spMkLst>
        </pc:spChg>
        <pc:spChg chg="del mod">
          <ac:chgData name="Srivastava, Ayush" userId="c01b8864-bd8d-4de8-bbf8-20cad289e861" providerId="ADAL" clId="{6515560B-589D-4A66-A240-A163C64A0A04}" dt="2021-08-24T15:29:16.886" v="2657" actId="478"/>
          <ac:spMkLst>
            <pc:docMk/>
            <pc:sldMk cId="1461060297" sldId="2146847375"/>
            <ac:spMk id="24" creationId="{9E1844B7-E4AB-4C61-A35C-F15C132A6968}"/>
          </ac:spMkLst>
        </pc:spChg>
        <pc:spChg chg="del mod">
          <ac:chgData name="Srivastava, Ayush" userId="c01b8864-bd8d-4de8-bbf8-20cad289e861" providerId="ADAL" clId="{6515560B-589D-4A66-A240-A163C64A0A04}" dt="2021-08-24T15:29:16.886" v="2657" actId="478"/>
          <ac:spMkLst>
            <pc:docMk/>
            <pc:sldMk cId="1461060297" sldId="2146847375"/>
            <ac:spMk id="25" creationId="{5C47D989-D963-4F76-AB4D-F9856F5B50AC}"/>
          </ac:spMkLst>
        </pc:spChg>
        <pc:spChg chg="mod">
          <ac:chgData name="Srivastava, Ayush" userId="c01b8864-bd8d-4de8-bbf8-20cad289e861" providerId="ADAL" clId="{6515560B-589D-4A66-A240-A163C64A0A04}" dt="2021-08-24T16:13:07.671" v="3331" actId="122"/>
          <ac:spMkLst>
            <pc:docMk/>
            <pc:sldMk cId="1461060297" sldId="2146847375"/>
            <ac:spMk id="26" creationId="{4F7FFED5-22BA-47DE-898F-A456A970819E}"/>
          </ac:spMkLst>
        </pc:spChg>
        <pc:spChg chg="del mod">
          <ac:chgData name="Srivastava, Ayush" userId="c01b8864-bd8d-4de8-bbf8-20cad289e861" providerId="ADAL" clId="{6515560B-589D-4A66-A240-A163C64A0A04}" dt="2021-08-24T16:12:04.382" v="3306" actId="478"/>
          <ac:spMkLst>
            <pc:docMk/>
            <pc:sldMk cId="1461060297" sldId="2146847375"/>
            <ac:spMk id="27" creationId="{33A613B4-48EB-4627-B175-58670DFB733D}"/>
          </ac:spMkLst>
        </pc:spChg>
        <pc:spChg chg="del">
          <ac:chgData name="Srivastava, Ayush" userId="c01b8864-bd8d-4de8-bbf8-20cad289e861" providerId="ADAL" clId="{6515560B-589D-4A66-A240-A163C64A0A04}" dt="2021-08-24T15:20:33.335" v="2565" actId="478"/>
          <ac:spMkLst>
            <pc:docMk/>
            <pc:sldMk cId="1461060297" sldId="2146847375"/>
            <ac:spMk id="28" creationId="{22449DAB-2376-4BE5-A672-98352E6E24B9}"/>
          </ac:spMkLst>
        </pc:spChg>
        <pc:spChg chg="del mod">
          <ac:chgData name="Srivastava, Ayush" userId="c01b8864-bd8d-4de8-bbf8-20cad289e861" providerId="ADAL" clId="{6515560B-589D-4A66-A240-A163C64A0A04}" dt="2021-08-24T16:12:04.382" v="3306" actId="478"/>
          <ac:spMkLst>
            <pc:docMk/>
            <pc:sldMk cId="1461060297" sldId="2146847375"/>
            <ac:spMk id="29" creationId="{7D9E0D87-988B-41ED-A7F2-8BECCAA22274}"/>
          </ac:spMkLst>
        </pc:spChg>
        <pc:graphicFrameChg chg="mod modGraphic">
          <ac:chgData name="Srivastava, Ayush" userId="c01b8864-bd8d-4de8-bbf8-20cad289e861" providerId="ADAL" clId="{6515560B-589D-4A66-A240-A163C64A0A04}" dt="2021-08-24T16:20:11.705" v="3368"/>
          <ac:graphicFrameMkLst>
            <pc:docMk/>
            <pc:sldMk cId="1461060297" sldId="2146847375"/>
            <ac:graphicFrameMk id="15" creationId="{24FDDE7B-7BE6-4EFB-AEF1-669B0772DD9F}"/>
          </ac:graphicFrameMkLst>
        </pc:graphicFrameChg>
      </pc:sldChg>
      <pc:sldChg chg="add del">
        <pc:chgData name="Srivastava, Ayush" userId="c01b8864-bd8d-4de8-bbf8-20cad289e861" providerId="ADAL" clId="{6515560B-589D-4A66-A240-A163C64A0A04}" dt="2021-08-24T14:03:35.761" v="2072" actId="2890"/>
        <pc:sldMkLst>
          <pc:docMk/>
          <pc:sldMk cId="3456463489" sldId="2146847375"/>
        </pc:sldMkLst>
      </pc:sldChg>
      <pc:sldChg chg="modSp add mod">
        <pc:chgData name="Srivastava, Ayush" userId="c01b8864-bd8d-4de8-bbf8-20cad289e861" providerId="ADAL" clId="{6515560B-589D-4A66-A240-A163C64A0A04}" dt="2021-08-24T16:16:31.159" v="3354" actId="2711"/>
        <pc:sldMkLst>
          <pc:docMk/>
          <pc:sldMk cId="4279285952" sldId="2146847376"/>
        </pc:sldMkLst>
        <pc:spChg chg="mod">
          <ac:chgData name="Srivastava, Ayush" userId="c01b8864-bd8d-4de8-bbf8-20cad289e861" providerId="ADAL" clId="{6515560B-589D-4A66-A240-A163C64A0A04}" dt="2021-08-24T15:23:28.847" v="2587" actId="207"/>
          <ac:spMkLst>
            <pc:docMk/>
            <pc:sldMk cId="4279285952" sldId="2146847376"/>
            <ac:spMk id="2" creationId="{98DEF4BE-89FE-4B38-9249-A50705FB9524}"/>
          </ac:spMkLst>
        </pc:spChg>
        <pc:graphicFrameChg chg="modGraphic">
          <ac:chgData name="Srivastava, Ayush" userId="c01b8864-bd8d-4de8-bbf8-20cad289e861" providerId="ADAL" clId="{6515560B-589D-4A66-A240-A163C64A0A04}" dt="2021-08-24T16:16:31.159" v="3354" actId="2711"/>
          <ac:graphicFrameMkLst>
            <pc:docMk/>
            <pc:sldMk cId="4279285952" sldId="2146847376"/>
            <ac:graphicFrameMk id="15" creationId="{24FDDE7B-7BE6-4EFB-AEF1-669B0772DD9F}"/>
          </ac:graphicFrameMkLst>
        </pc:graphicFrameChg>
      </pc:sldChg>
      <pc:sldChg chg="modSp add mod">
        <pc:chgData name="Srivastava, Ayush" userId="c01b8864-bd8d-4de8-bbf8-20cad289e861" providerId="ADAL" clId="{6515560B-589D-4A66-A240-A163C64A0A04}" dt="2021-08-24T16:16:22.555" v="3353" actId="2711"/>
        <pc:sldMkLst>
          <pc:docMk/>
          <pc:sldMk cId="3317846635" sldId="2146847377"/>
        </pc:sldMkLst>
        <pc:spChg chg="mod">
          <ac:chgData name="Srivastava, Ayush" userId="c01b8864-bd8d-4de8-bbf8-20cad289e861" providerId="ADAL" clId="{6515560B-589D-4A66-A240-A163C64A0A04}" dt="2021-08-24T15:23:32.694" v="2588" actId="207"/>
          <ac:spMkLst>
            <pc:docMk/>
            <pc:sldMk cId="3317846635" sldId="2146847377"/>
            <ac:spMk id="2" creationId="{98DEF4BE-89FE-4B38-9249-A50705FB9524}"/>
          </ac:spMkLst>
        </pc:spChg>
        <pc:graphicFrameChg chg="modGraphic">
          <ac:chgData name="Srivastava, Ayush" userId="c01b8864-bd8d-4de8-bbf8-20cad289e861" providerId="ADAL" clId="{6515560B-589D-4A66-A240-A163C64A0A04}" dt="2021-08-24T16:16:22.555" v="3353" actId="2711"/>
          <ac:graphicFrameMkLst>
            <pc:docMk/>
            <pc:sldMk cId="3317846635" sldId="2146847377"/>
            <ac:graphicFrameMk id="15" creationId="{24FDDE7B-7BE6-4EFB-AEF1-669B0772DD9F}"/>
          </ac:graphicFrameMkLst>
        </pc:graphicFrameChg>
      </pc:sldChg>
      <pc:sldChg chg="modSp add mod">
        <pc:chgData name="Srivastava, Ayush" userId="c01b8864-bd8d-4de8-bbf8-20cad289e861" providerId="ADAL" clId="{6515560B-589D-4A66-A240-A163C64A0A04}" dt="2021-08-24T16:16:40.072" v="3355" actId="2711"/>
        <pc:sldMkLst>
          <pc:docMk/>
          <pc:sldMk cId="183759902" sldId="2146847378"/>
        </pc:sldMkLst>
        <pc:spChg chg="mod">
          <ac:chgData name="Srivastava, Ayush" userId="c01b8864-bd8d-4de8-bbf8-20cad289e861" providerId="ADAL" clId="{6515560B-589D-4A66-A240-A163C64A0A04}" dt="2021-08-24T15:23:22.718" v="2586" actId="207"/>
          <ac:spMkLst>
            <pc:docMk/>
            <pc:sldMk cId="183759902" sldId="2146847378"/>
            <ac:spMk id="2" creationId="{98DEF4BE-89FE-4B38-9249-A50705FB9524}"/>
          </ac:spMkLst>
        </pc:spChg>
        <pc:graphicFrameChg chg="modGraphic">
          <ac:chgData name="Srivastava, Ayush" userId="c01b8864-bd8d-4de8-bbf8-20cad289e861" providerId="ADAL" clId="{6515560B-589D-4A66-A240-A163C64A0A04}" dt="2021-08-24T16:16:40.072" v="3355" actId="2711"/>
          <ac:graphicFrameMkLst>
            <pc:docMk/>
            <pc:sldMk cId="183759902" sldId="2146847378"/>
            <ac:graphicFrameMk id="15" creationId="{24FDDE7B-7BE6-4EFB-AEF1-669B0772DD9F}"/>
          </ac:graphicFrameMkLst>
        </pc:graphicFrameChg>
      </pc:sldChg>
      <pc:sldChg chg="delSp modSp add mod">
        <pc:chgData name="Srivastava, Ayush" userId="c01b8864-bd8d-4de8-bbf8-20cad289e861" providerId="ADAL" clId="{6515560B-589D-4A66-A240-A163C64A0A04}" dt="2021-08-24T16:16:54.327" v="3357" actId="2711"/>
        <pc:sldMkLst>
          <pc:docMk/>
          <pc:sldMk cId="383619685" sldId="2146847379"/>
        </pc:sldMkLst>
        <pc:spChg chg="mod">
          <ac:chgData name="Srivastava, Ayush" userId="c01b8864-bd8d-4de8-bbf8-20cad289e861" providerId="ADAL" clId="{6515560B-589D-4A66-A240-A163C64A0A04}" dt="2021-08-24T16:01:23.941" v="3222" actId="20577"/>
          <ac:spMkLst>
            <pc:docMk/>
            <pc:sldMk cId="383619685" sldId="2146847379"/>
            <ac:spMk id="2" creationId="{98DEF4BE-89FE-4B38-9249-A50705FB9524}"/>
          </ac:spMkLst>
        </pc:spChg>
        <pc:spChg chg="mod">
          <ac:chgData name="Srivastava, Ayush" userId="c01b8864-bd8d-4de8-bbf8-20cad289e861" providerId="ADAL" clId="{6515560B-589D-4A66-A240-A163C64A0A04}" dt="2021-08-24T15:56:53.185" v="3199" actId="20577"/>
          <ac:spMkLst>
            <pc:docMk/>
            <pc:sldMk cId="383619685" sldId="2146847379"/>
            <ac:spMk id="4" creationId="{B38B14AF-B49F-41F5-8E26-05096D2E63C3}"/>
          </ac:spMkLst>
        </pc:spChg>
        <pc:spChg chg="mod">
          <ac:chgData name="Srivastava, Ayush" userId="c01b8864-bd8d-4de8-bbf8-20cad289e861" providerId="ADAL" clId="{6515560B-589D-4A66-A240-A163C64A0A04}" dt="2021-08-24T15:56:36.497" v="3197" actId="14100"/>
          <ac:spMkLst>
            <pc:docMk/>
            <pc:sldMk cId="383619685" sldId="2146847379"/>
            <ac:spMk id="13" creationId="{A2A2B339-34D0-4E4C-A64A-1D4F53CF4E1E}"/>
          </ac:spMkLst>
        </pc:spChg>
        <pc:spChg chg="mod">
          <ac:chgData name="Srivastava, Ayush" userId="c01b8864-bd8d-4de8-bbf8-20cad289e861" providerId="ADAL" clId="{6515560B-589D-4A66-A240-A163C64A0A04}" dt="2021-08-24T15:56:25.265" v="3195" actId="207"/>
          <ac:spMkLst>
            <pc:docMk/>
            <pc:sldMk cId="383619685" sldId="2146847379"/>
            <ac:spMk id="14" creationId="{CC75590A-0B2A-4DC7-8276-6CF0AA6A570B}"/>
          </ac:spMkLst>
        </pc:spChg>
        <pc:spChg chg="del">
          <ac:chgData name="Srivastava, Ayush" userId="c01b8864-bd8d-4de8-bbf8-20cad289e861" providerId="ADAL" clId="{6515560B-589D-4A66-A240-A163C64A0A04}" dt="2021-08-24T15:56:30.396" v="3196" actId="478"/>
          <ac:spMkLst>
            <pc:docMk/>
            <pc:sldMk cId="383619685" sldId="2146847379"/>
            <ac:spMk id="23" creationId="{1C06B414-FC51-41C8-8FB0-3B8CBF313D11}"/>
          </ac:spMkLst>
        </pc:spChg>
        <pc:spChg chg="del">
          <ac:chgData name="Srivastava, Ayush" userId="c01b8864-bd8d-4de8-bbf8-20cad289e861" providerId="ADAL" clId="{6515560B-589D-4A66-A240-A163C64A0A04}" dt="2021-08-24T15:56:30.396" v="3196" actId="478"/>
          <ac:spMkLst>
            <pc:docMk/>
            <pc:sldMk cId="383619685" sldId="2146847379"/>
            <ac:spMk id="26" creationId="{4F7FFED5-22BA-47DE-898F-A456A970819E}"/>
          </ac:spMkLst>
        </pc:spChg>
        <pc:spChg chg="del">
          <ac:chgData name="Srivastava, Ayush" userId="c01b8864-bd8d-4de8-bbf8-20cad289e861" providerId="ADAL" clId="{6515560B-589D-4A66-A240-A163C64A0A04}" dt="2021-08-24T15:56:30.396" v="3196" actId="478"/>
          <ac:spMkLst>
            <pc:docMk/>
            <pc:sldMk cId="383619685" sldId="2146847379"/>
            <ac:spMk id="27" creationId="{33A613B4-48EB-4627-B175-58670DFB733D}"/>
          </ac:spMkLst>
        </pc:spChg>
        <pc:spChg chg="del">
          <ac:chgData name="Srivastava, Ayush" userId="c01b8864-bd8d-4de8-bbf8-20cad289e861" providerId="ADAL" clId="{6515560B-589D-4A66-A240-A163C64A0A04}" dt="2021-08-24T15:56:30.396" v="3196" actId="478"/>
          <ac:spMkLst>
            <pc:docMk/>
            <pc:sldMk cId="383619685" sldId="2146847379"/>
            <ac:spMk id="29" creationId="{7D9E0D87-988B-41ED-A7F2-8BECCAA22274}"/>
          </ac:spMkLst>
        </pc:spChg>
        <pc:graphicFrameChg chg="mod modGraphic">
          <ac:chgData name="Srivastava, Ayush" userId="c01b8864-bd8d-4de8-bbf8-20cad289e861" providerId="ADAL" clId="{6515560B-589D-4A66-A240-A163C64A0A04}" dt="2021-08-24T16:16:54.327" v="3357" actId="2711"/>
          <ac:graphicFrameMkLst>
            <pc:docMk/>
            <pc:sldMk cId="383619685" sldId="2146847379"/>
            <ac:graphicFrameMk id="15" creationId="{24FDDE7B-7BE6-4EFB-AEF1-669B0772DD9F}"/>
          </ac:graphicFrameMkLst>
        </pc:graphicFrameChg>
      </pc:sldChg>
      <pc:sldChg chg="delSp modSp add mod ord">
        <pc:chgData name="Srivastava, Ayush" userId="c01b8864-bd8d-4de8-bbf8-20cad289e861" providerId="ADAL" clId="{6515560B-589D-4A66-A240-A163C64A0A04}" dt="2021-08-24T16:16:47.341" v="3356" actId="2711"/>
        <pc:sldMkLst>
          <pc:docMk/>
          <pc:sldMk cId="1964990107" sldId="2146847380"/>
        </pc:sldMkLst>
        <pc:spChg chg="mod">
          <ac:chgData name="Srivastava, Ayush" userId="c01b8864-bd8d-4de8-bbf8-20cad289e861" providerId="ADAL" clId="{6515560B-589D-4A66-A240-A163C64A0A04}" dt="2021-08-24T16:04:03.623" v="3245" actId="20577"/>
          <ac:spMkLst>
            <pc:docMk/>
            <pc:sldMk cId="1964990107" sldId="2146847380"/>
            <ac:spMk id="2" creationId="{98DEF4BE-89FE-4B38-9249-A50705FB9524}"/>
          </ac:spMkLst>
        </pc:spChg>
        <pc:spChg chg="mod">
          <ac:chgData name="Srivastava, Ayush" userId="c01b8864-bd8d-4de8-bbf8-20cad289e861" providerId="ADAL" clId="{6515560B-589D-4A66-A240-A163C64A0A04}" dt="2021-08-24T16:04:00.687" v="3243" actId="20577"/>
          <ac:spMkLst>
            <pc:docMk/>
            <pc:sldMk cId="1964990107" sldId="2146847380"/>
            <ac:spMk id="4" creationId="{B38B14AF-B49F-41F5-8E26-05096D2E63C3}"/>
          </ac:spMkLst>
        </pc:spChg>
        <pc:spChg chg="mod">
          <ac:chgData name="Srivastava, Ayush" userId="c01b8864-bd8d-4de8-bbf8-20cad289e861" providerId="ADAL" clId="{6515560B-589D-4A66-A240-A163C64A0A04}" dt="2021-08-24T16:05:13.299" v="3257" actId="14100"/>
          <ac:spMkLst>
            <pc:docMk/>
            <pc:sldMk cId="1964990107" sldId="2146847380"/>
            <ac:spMk id="13" creationId="{A2A2B339-34D0-4E4C-A64A-1D4F53CF4E1E}"/>
          </ac:spMkLst>
        </pc:spChg>
        <pc:spChg chg="mod">
          <ac:chgData name="Srivastava, Ayush" userId="c01b8864-bd8d-4de8-bbf8-20cad289e861" providerId="ADAL" clId="{6515560B-589D-4A66-A240-A163C64A0A04}" dt="2021-08-24T16:05:44.732" v="3263" actId="2711"/>
          <ac:spMkLst>
            <pc:docMk/>
            <pc:sldMk cId="1964990107" sldId="2146847380"/>
            <ac:spMk id="14" creationId="{CC75590A-0B2A-4DC7-8276-6CF0AA6A570B}"/>
          </ac:spMkLst>
        </pc:spChg>
        <pc:spChg chg="mod">
          <ac:chgData name="Srivastava, Ayush" userId="c01b8864-bd8d-4de8-bbf8-20cad289e861" providerId="ADAL" clId="{6515560B-589D-4A66-A240-A163C64A0A04}" dt="2021-08-24T16:05:44.732" v="3263" actId="2711"/>
          <ac:spMkLst>
            <pc:docMk/>
            <pc:sldMk cId="1964990107" sldId="2146847380"/>
            <ac:spMk id="23" creationId="{1C06B414-FC51-41C8-8FB0-3B8CBF313D11}"/>
          </ac:spMkLst>
        </pc:spChg>
        <pc:spChg chg="mod">
          <ac:chgData name="Srivastava, Ayush" userId="c01b8864-bd8d-4de8-bbf8-20cad289e861" providerId="ADAL" clId="{6515560B-589D-4A66-A240-A163C64A0A04}" dt="2021-08-24T16:05:44.732" v="3263" actId="2711"/>
          <ac:spMkLst>
            <pc:docMk/>
            <pc:sldMk cId="1964990107" sldId="2146847380"/>
            <ac:spMk id="26" creationId="{4F7FFED5-22BA-47DE-898F-A456A970819E}"/>
          </ac:spMkLst>
        </pc:spChg>
        <pc:spChg chg="mod">
          <ac:chgData name="Srivastava, Ayush" userId="c01b8864-bd8d-4de8-bbf8-20cad289e861" providerId="ADAL" clId="{6515560B-589D-4A66-A240-A163C64A0A04}" dt="2021-08-24T16:05:44.732" v="3263" actId="2711"/>
          <ac:spMkLst>
            <pc:docMk/>
            <pc:sldMk cId="1964990107" sldId="2146847380"/>
            <ac:spMk id="27" creationId="{33A613B4-48EB-4627-B175-58670DFB733D}"/>
          </ac:spMkLst>
        </pc:spChg>
        <pc:spChg chg="del">
          <ac:chgData name="Srivastava, Ayush" userId="c01b8864-bd8d-4de8-bbf8-20cad289e861" providerId="ADAL" clId="{6515560B-589D-4A66-A240-A163C64A0A04}" dt="2021-08-24T16:05:08.680" v="3256" actId="478"/>
          <ac:spMkLst>
            <pc:docMk/>
            <pc:sldMk cId="1964990107" sldId="2146847380"/>
            <ac:spMk id="29" creationId="{7D9E0D87-988B-41ED-A7F2-8BECCAA22274}"/>
          </ac:spMkLst>
        </pc:spChg>
        <pc:graphicFrameChg chg="mod modGraphic">
          <ac:chgData name="Srivastava, Ayush" userId="c01b8864-bd8d-4de8-bbf8-20cad289e861" providerId="ADAL" clId="{6515560B-589D-4A66-A240-A163C64A0A04}" dt="2021-08-24T16:16:47.341" v="3356" actId="2711"/>
          <ac:graphicFrameMkLst>
            <pc:docMk/>
            <pc:sldMk cId="1964990107" sldId="2146847380"/>
            <ac:graphicFrameMk id="15" creationId="{24FDDE7B-7BE6-4EFB-AEF1-669B0772DD9F}"/>
          </ac:graphicFrameMkLst>
        </pc:graphicFrameChg>
      </pc:sldChg>
      <pc:sldChg chg="delSp modSp add mod ord">
        <pc:chgData name="Srivastava, Ayush" userId="c01b8864-bd8d-4de8-bbf8-20cad289e861" providerId="ADAL" clId="{6515560B-589D-4A66-A240-A163C64A0A04}" dt="2021-08-24T16:24:04.500" v="3403"/>
        <pc:sldMkLst>
          <pc:docMk/>
          <pc:sldMk cId="1384751485" sldId="2146847381"/>
        </pc:sldMkLst>
        <pc:spChg chg="mod">
          <ac:chgData name="Srivastava, Ayush" userId="c01b8864-bd8d-4de8-bbf8-20cad289e861" providerId="ADAL" clId="{6515560B-589D-4A66-A240-A163C64A0A04}" dt="2021-08-24T16:20:56.368" v="3376" actId="20577"/>
          <ac:spMkLst>
            <pc:docMk/>
            <pc:sldMk cId="1384751485" sldId="2146847381"/>
            <ac:spMk id="2" creationId="{98DEF4BE-89FE-4B38-9249-A50705FB9524}"/>
          </ac:spMkLst>
        </pc:spChg>
        <pc:spChg chg="mod">
          <ac:chgData name="Srivastava, Ayush" userId="c01b8864-bd8d-4de8-bbf8-20cad289e861" providerId="ADAL" clId="{6515560B-589D-4A66-A240-A163C64A0A04}" dt="2021-08-24T16:20:46.315" v="3374" actId="120"/>
          <ac:spMkLst>
            <pc:docMk/>
            <pc:sldMk cId="1384751485" sldId="2146847381"/>
            <ac:spMk id="4" creationId="{B38B14AF-B49F-41F5-8E26-05096D2E63C3}"/>
          </ac:spMkLst>
        </pc:spChg>
        <pc:spChg chg="mod">
          <ac:chgData name="Srivastava, Ayush" userId="c01b8864-bd8d-4de8-bbf8-20cad289e861" providerId="ADAL" clId="{6515560B-589D-4A66-A240-A163C64A0A04}" dt="2021-08-24T16:22:12.193" v="3394" actId="14100"/>
          <ac:spMkLst>
            <pc:docMk/>
            <pc:sldMk cId="1384751485" sldId="2146847381"/>
            <ac:spMk id="13" creationId="{A2A2B339-34D0-4E4C-A64A-1D4F53CF4E1E}"/>
          </ac:spMkLst>
        </pc:spChg>
        <pc:spChg chg="mod">
          <ac:chgData name="Srivastava, Ayush" userId="c01b8864-bd8d-4de8-bbf8-20cad289e861" providerId="ADAL" clId="{6515560B-589D-4A66-A240-A163C64A0A04}" dt="2021-08-24T16:21:58.718" v="3389" actId="122"/>
          <ac:spMkLst>
            <pc:docMk/>
            <pc:sldMk cId="1384751485" sldId="2146847381"/>
            <ac:spMk id="14" creationId="{CC75590A-0B2A-4DC7-8276-6CF0AA6A570B}"/>
          </ac:spMkLst>
        </pc:spChg>
        <pc:spChg chg="mod">
          <ac:chgData name="Srivastava, Ayush" userId="c01b8864-bd8d-4de8-bbf8-20cad289e861" providerId="ADAL" clId="{6515560B-589D-4A66-A240-A163C64A0A04}" dt="2021-08-24T16:22:05.549" v="3393" actId="1038"/>
          <ac:spMkLst>
            <pc:docMk/>
            <pc:sldMk cId="1384751485" sldId="2146847381"/>
            <ac:spMk id="23" creationId="{1C06B414-FC51-41C8-8FB0-3B8CBF313D11}"/>
          </ac:spMkLst>
        </pc:spChg>
        <pc:spChg chg="del">
          <ac:chgData name="Srivastava, Ayush" userId="c01b8864-bd8d-4de8-bbf8-20cad289e861" providerId="ADAL" clId="{6515560B-589D-4A66-A240-A163C64A0A04}" dt="2021-08-24T16:21:43.386" v="3384" actId="478"/>
          <ac:spMkLst>
            <pc:docMk/>
            <pc:sldMk cId="1384751485" sldId="2146847381"/>
            <ac:spMk id="26" creationId="{4F7FFED5-22BA-47DE-898F-A456A970819E}"/>
          </ac:spMkLst>
        </pc:spChg>
        <pc:spChg chg="del">
          <ac:chgData name="Srivastava, Ayush" userId="c01b8864-bd8d-4de8-bbf8-20cad289e861" providerId="ADAL" clId="{6515560B-589D-4A66-A240-A163C64A0A04}" dt="2021-08-24T16:21:43.386" v="3384" actId="478"/>
          <ac:spMkLst>
            <pc:docMk/>
            <pc:sldMk cId="1384751485" sldId="2146847381"/>
            <ac:spMk id="27" creationId="{33A613B4-48EB-4627-B175-58670DFB733D}"/>
          </ac:spMkLst>
        </pc:spChg>
        <pc:spChg chg="del">
          <ac:chgData name="Srivastava, Ayush" userId="c01b8864-bd8d-4de8-bbf8-20cad289e861" providerId="ADAL" clId="{6515560B-589D-4A66-A240-A163C64A0A04}" dt="2021-08-24T16:21:43.386" v="3384" actId="478"/>
          <ac:spMkLst>
            <pc:docMk/>
            <pc:sldMk cId="1384751485" sldId="2146847381"/>
            <ac:spMk id="29" creationId="{7D9E0D87-988B-41ED-A7F2-8BECCAA22274}"/>
          </ac:spMkLst>
        </pc:spChg>
        <pc:graphicFrameChg chg="mod modGraphic">
          <ac:chgData name="Srivastava, Ayush" userId="c01b8864-bd8d-4de8-bbf8-20cad289e861" providerId="ADAL" clId="{6515560B-589D-4A66-A240-A163C64A0A04}" dt="2021-08-24T16:23:48.023" v="3399" actId="13926"/>
          <ac:graphicFrameMkLst>
            <pc:docMk/>
            <pc:sldMk cId="1384751485" sldId="2146847381"/>
            <ac:graphicFrameMk id="15" creationId="{24FDDE7B-7BE6-4EFB-AEF1-669B0772DD9F}"/>
          </ac:graphicFrameMkLst>
        </pc:graphicFrameChg>
      </pc:sldChg>
      <pc:sldChg chg="add">
        <pc:chgData name="Srivastava, Ayush" userId="c01b8864-bd8d-4de8-bbf8-20cad289e861" providerId="ADAL" clId="{6515560B-589D-4A66-A240-A163C64A0A04}" dt="2021-08-24T16:20:31.809" v="3371" actId="2890"/>
        <pc:sldMkLst>
          <pc:docMk/>
          <pc:sldMk cId="1569801637" sldId="2146847382"/>
        </pc:sldMkLst>
      </pc:sldChg>
      <pc:sldMasterChg chg="modSldLayout">
        <pc:chgData name="Srivastava, Ayush" userId="c01b8864-bd8d-4de8-bbf8-20cad289e861" providerId="ADAL" clId="{6515560B-589D-4A66-A240-A163C64A0A04}" dt="2021-08-24T13:21:25.592" v="1572"/>
        <pc:sldMasterMkLst>
          <pc:docMk/>
          <pc:sldMasterMk cId="286210591" sldId="2147483866"/>
        </pc:sldMasterMkLst>
        <pc:sldLayoutChg chg="modSp">
          <pc:chgData name="Srivastava, Ayush" userId="c01b8864-bd8d-4de8-bbf8-20cad289e861" providerId="ADAL" clId="{6515560B-589D-4A66-A240-A163C64A0A04}" dt="2021-08-24T13:21:25.592" v="1572"/>
          <pc:sldLayoutMkLst>
            <pc:docMk/>
            <pc:sldMasterMk cId="286210591" sldId="2147483866"/>
            <pc:sldLayoutMk cId="58995232" sldId="2147483899"/>
          </pc:sldLayoutMkLst>
          <pc:spChg chg="mod">
            <ac:chgData name="Srivastava, Ayush" userId="c01b8864-bd8d-4de8-bbf8-20cad289e861" providerId="ADAL" clId="{6515560B-589D-4A66-A240-A163C64A0A04}" dt="2021-08-24T13:21:25.592" v="1572"/>
            <ac:spMkLst>
              <pc:docMk/>
              <pc:sldMasterMk cId="286210591" sldId="2147483866"/>
              <pc:sldLayoutMk cId="58995232" sldId="2147483899"/>
              <ac:spMk id="39" creationId="{4E5E86B9-B663-45FF-94D6-49FB2E2F96A2}"/>
            </ac:spMkLst>
          </pc:spChg>
        </pc:sldLayoutChg>
        <pc:sldLayoutChg chg="modSp">
          <pc:chgData name="Srivastava, Ayush" userId="c01b8864-bd8d-4de8-bbf8-20cad289e861" providerId="ADAL" clId="{6515560B-589D-4A66-A240-A163C64A0A04}" dt="2021-08-24T13:21:25.592" v="1572"/>
          <pc:sldLayoutMkLst>
            <pc:docMk/>
            <pc:sldMasterMk cId="286210591" sldId="2147483866"/>
            <pc:sldLayoutMk cId="2504431520" sldId="2147483900"/>
          </pc:sldLayoutMkLst>
          <pc:spChg chg="mod">
            <ac:chgData name="Srivastava, Ayush" userId="c01b8864-bd8d-4de8-bbf8-20cad289e861" providerId="ADAL" clId="{6515560B-589D-4A66-A240-A163C64A0A04}" dt="2021-08-24T13:21:25.592" v="1572"/>
            <ac:spMkLst>
              <pc:docMk/>
              <pc:sldMasterMk cId="286210591" sldId="2147483866"/>
              <pc:sldLayoutMk cId="2504431520" sldId="2147483900"/>
              <ac:spMk id="39" creationId="{64A8DFE4-469C-4E3C-8C88-1FE3C2C60BF1}"/>
            </ac:spMkLst>
          </pc:spChg>
        </pc:sldLayoutChg>
        <pc:sldLayoutChg chg="modSp">
          <pc:chgData name="Srivastava, Ayush" userId="c01b8864-bd8d-4de8-bbf8-20cad289e861" providerId="ADAL" clId="{6515560B-589D-4A66-A240-A163C64A0A04}" dt="2021-08-24T13:21:25.592" v="1572"/>
          <pc:sldLayoutMkLst>
            <pc:docMk/>
            <pc:sldMasterMk cId="286210591" sldId="2147483866"/>
            <pc:sldLayoutMk cId="3971492467" sldId="2147483901"/>
          </pc:sldLayoutMkLst>
          <pc:spChg chg="mod">
            <ac:chgData name="Srivastava, Ayush" userId="c01b8864-bd8d-4de8-bbf8-20cad289e861" providerId="ADAL" clId="{6515560B-589D-4A66-A240-A163C64A0A04}" dt="2021-08-24T13:21:25.592" v="1572"/>
            <ac:spMkLst>
              <pc:docMk/>
              <pc:sldMasterMk cId="286210591" sldId="2147483866"/>
              <pc:sldLayoutMk cId="3971492467" sldId="2147483901"/>
              <ac:spMk id="39" creationId="{679E380D-46AC-47A5-AE2C-4765F0489A24}"/>
            </ac:spMkLst>
          </pc:spChg>
        </pc:sldLayoutChg>
        <pc:sldLayoutChg chg="modSp">
          <pc:chgData name="Srivastava, Ayush" userId="c01b8864-bd8d-4de8-bbf8-20cad289e861" providerId="ADAL" clId="{6515560B-589D-4A66-A240-A163C64A0A04}" dt="2021-08-24T13:21:25.592" v="1572"/>
          <pc:sldLayoutMkLst>
            <pc:docMk/>
            <pc:sldMasterMk cId="286210591" sldId="2147483866"/>
            <pc:sldLayoutMk cId="3535306868" sldId="2147483902"/>
          </pc:sldLayoutMkLst>
          <pc:spChg chg="mod">
            <ac:chgData name="Srivastava, Ayush" userId="c01b8864-bd8d-4de8-bbf8-20cad289e861" providerId="ADAL" clId="{6515560B-589D-4A66-A240-A163C64A0A04}" dt="2021-08-24T13:21:25.592" v="1572"/>
            <ac:spMkLst>
              <pc:docMk/>
              <pc:sldMasterMk cId="286210591" sldId="2147483866"/>
              <pc:sldLayoutMk cId="3535306868" sldId="2147483902"/>
              <ac:spMk id="39" creationId="{EBAB7C69-67A3-4A1C-B3DF-563C0142FE9D}"/>
            </ac:spMkLst>
          </pc:spChg>
        </pc:sldLayoutChg>
        <pc:sldLayoutChg chg="modSp">
          <pc:chgData name="Srivastava, Ayush" userId="c01b8864-bd8d-4de8-bbf8-20cad289e861" providerId="ADAL" clId="{6515560B-589D-4A66-A240-A163C64A0A04}" dt="2021-08-24T13:21:25.592" v="1572"/>
          <pc:sldLayoutMkLst>
            <pc:docMk/>
            <pc:sldMasterMk cId="286210591" sldId="2147483866"/>
            <pc:sldLayoutMk cId="2962999961" sldId="2147483903"/>
          </pc:sldLayoutMkLst>
          <pc:spChg chg="mod">
            <ac:chgData name="Srivastava, Ayush" userId="c01b8864-bd8d-4de8-bbf8-20cad289e861" providerId="ADAL" clId="{6515560B-589D-4A66-A240-A163C64A0A04}" dt="2021-08-24T13:21:25.592" v="1572"/>
            <ac:spMkLst>
              <pc:docMk/>
              <pc:sldMasterMk cId="286210591" sldId="2147483866"/>
              <pc:sldLayoutMk cId="2962999961" sldId="2147483903"/>
              <ac:spMk id="39" creationId="{4570010F-3897-4966-8700-65D7AACC1E9E}"/>
            </ac:spMkLst>
          </pc:spChg>
        </pc:sldLayoutChg>
      </pc:sldMasterChg>
    </pc:docChg>
  </pc:docChgLst>
  <pc:docChgLst>
    <pc:chgData name="Ss, Vidyashree" userId="0ebccc11-5d6b-4a49-ab54-ea1b81344123" providerId="ADAL" clId="{5D9BC3FD-58C5-449E-BAD2-77AF5945FD74}"/>
    <pc:docChg chg="undo custSel addSld delSld modSld sldOrd modSection">
      <pc:chgData name="Ss, Vidyashree" userId="0ebccc11-5d6b-4a49-ab54-ea1b81344123" providerId="ADAL" clId="{5D9BC3FD-58C5-449E-BAD2-77AF5945FD74}" dt="2022-03-11T10:18:50.546" v="76" actId="20577"/>
      <pc:docMkLst>
        <pc:docMk/>
      </pc:docMkLst>
      <pc:sldChg chg="modSp mod">
        <pc:chgData name="Ss, Vidyashree" userId="0ebccc11-5d6b-4a49-ab54-ea1b81344123" providerId="ADAL" clId="{5D9BC3FD-58C5-449E-BAD2-77AF5945FD74}" dt="2022-03-11T10:18:50.546" v="76" actId="20577"/>
        <pc:sldMkLst>
          <pc:docMk/>
          <pc:sldMk cId="3350460562" sldId="2146846959"/>
        </pc:sldMkLst>
        <pc:spChg chg="mod">
          <ac:chgData name="Ss, Vidyashree" userId="0ebccc11-5d6b-4a49-ab54-ea1b81344123" providerId="ADAL" clId="{5D9BC3FD-58C5-449E-BAD2-77AF5945FD74}" dt="2022-03-11T10:18:50.546" v="76" actId="20577"/>
          <ac:spMkLst>
            <pc:docMk/>
            <pc:sldMk cId="3350460562" sldId="2146846959"/>
            <ac:spMk id="56" creationId="{E3F8F829-7B49-4EC9-85B7-91E1C84E6D88}"/>
          </ac:spMkLst>
        </pc:spChg>
      </pc:sldChg>
      <pc:sldChg chg="modSp add mod">
        <pc:chgData name="Ss, Vidyashree" userId="0ebccc11-5d6b-4a49-ab54-ea1b81344123" providerId="ADAL" clId="{5D9BC3FD-58C5-449E-BAD2-77AF5945FD74}" dt="2022-03-11T09:50:22.840" v="16" actId="20577"/>
        <pc:sldMkLst>
          <pc:docMk/>
          <pc:sldMk cId="1250148004" sldId="2146846960"/>
        </pc:sldMkLst>
        <pc:spChg chg="mod">
          <ac:chgData name="Ss, Vidyashree" userId="0ebccc11-5d6b-4a49-ab54-ea1b81344123" providerId="ADAL" clId="{5D9BC3FD-58C5-449E-BAD2-77AF5945FD74}" dt="2022-03-11T09:50:22.840" v="16" actId="20577"/>
          <ac:spMkLst>
            <pc:docMk/>
            <pc:sldMk cId="1250148004" sldId="2146846960"/>
            <ac:spMk id="67" creationId="{08061645-DE9B-44E8-9F91-13479607538B}"/>
          </ac:spMkLst>
        </pc:spChg>
        <pc:spChg chg="mod">
          <ac:chgData name="Ss, Vidyashree" userId="0ebccc11-5d6b-4a49-ab54-ea1b81344123" providerId="ADAL" clId="{5D9BC3FD-58C5-449E-BAD2-77AF5945FD74}" dt="2022-03-11T09:50:00.355" v="8"/>
          <ac:spMkLst>
            <pc:docMk/>
            <pc:sldMk cId="1250148004" sldId="2146846960"/>
            <ac:spMk id="68" creationId="{ED5A59F1-6B14-4902-8284-798A77769EAD}"/>
          </ac:spMkLst>
        </pc:spChg>
        <pc:spChg chg="mod">
          <ac:chgData name="Ss, Vidyashree" userId="0ebccc11-5d6b-4a49-ab54-ea1b81344123" providerId="ADAL" clId="{5D9BC3FD-58C5-449E-BAD2-77AF5945FD74}" dt="2022-03-11T09:49:41.397" v="7"/>
          <ac:spMkLst>
            <pc:docMk/>
            <pc:sldMk cId="1250148004" sldId="2146846960"/>
            <ac:spMk id="73" creationId="{5D2F1821-974C-4470-81F3-A76093A1F218}"/>
          </ac:spMkLst>
        </pc:spChg>
      </pc:sldChg>
      <pc:sldChg chg="modSp add mod ord">
        <pc:chgData name="Ss, Vidyashree" userId="0ebccc11-5d6b-4a49-ab54-ea1b81344123" providerId="ADAL" clId="{5D9BC3FD-58C5-449E-BAD2-77AF5945FD74}" dt="2022-03-11T10:04:54.730" v="60" actId="20577"/>
        <pc:sldMkLst>
          <pc:docMk/>
          <pc:sldMk cId="2157637328" sldId="2146846961"/>
        </pc:sldMkLst>
        <pc:spChg chg="mod">
          <ac:chgData name="Ss, Vidyashree" userId="0ebccc11-5d6b-4a49-ab54-ea1b81344123" providerId="ADAL" clId="{5D9BC3FD-58C5-449E-BAD2-77AF5945FD74}" dt="2022-03-11T10:03:11.141" v="26" actId="20577"/>
          <ac:spMkLst>
            <pc:docMk/>
            <pc:sldMk cId="2157637328" sldId="2146846961"/>
            <ac:spMk id="23" creationId="{1549EC7F-3A72-46CA-BABE-1882070C31CF}"/>
          </ac:spMkLst>
        </pc:spChg>
        <pc:spChg chg="mod">
          <ac:chgData name="Ss, Vidyashree" userId="0ebccc11-5d6b-4a49-ab54-ea1b81344123" providerId="ADAL" clId="{5D9BC3FD-58C5-449E-BAD2-77AF5945FD74}" dt="2022-03-11T10:04:39.039" v="46" actId="20577"/>
          <ac:spMkLst>
            <pc:docMk/>
            <pc:sldMk cId="2157637328" sldId="2146846961"/>
            <ac:spMk id="26" creationId="{5036B489-B62C-465F-B746-869D19FF3752}"/>
          </ac:spMkLst>
        </pc:spChg>
        <pc:spChg chg="mod">
          <ac:chgData name="Ss, Vidyashree" userId="0ebccc11-5d6b-4a49-ab54-ea1b81344123" providerId="ADAL" clId="{5D9BC3FD-58C5-449E-BAD2-77AF5945FD74}" dt="2022-03-11T10:04:54.730" v="60" actId="20577"/>
          <ac:spMkLst>
            <pc:docMk/>
            <pc:sldMk cId="2157637328" sldId="2146846961"/>
            <ac:spMk id="27" creationId="{6E59AFE3-1B15-467A-A50B-000E1189E537}"/>
          </ac:spMkLst>
        </pc:spChg>
        <pc:spChg chg="mod">
          <ac:chgData name="Ss, Vidyashree" userId="0ebccc11-5d6b-4a49-ab54-ea1b81344123" providerId="ADAL" clId="{5D9BC3FD-58C5-449E-BAD2-77AF5945FD74}" dt="2022-03-11T10:04:23.344" v="40" actId="6549"/>
          <ac:spMkLst>
            <pc:docMk/>
            <pc:sldMk cId="2157637328" sldId="2146846961"/>
            <ac:spMk id="29" creationId="{32779B9E-7C0A-4474-80A3-79F8D2FD1CE6}"/>
          </ac:spMkLst>
        </pc:spChg>
        <pc:spChg chg="mod">
          <ac:chgData name="Ss, Vidyashree" userId="0ebccc11-5d6b-4a49-ab54-ea1b81344123" providerId="ADAL" clId="{5D9BC3FD-58C5-449E-BAD2-77AF5945FD74}" dt="2022-03-11T10:03:35.669" v="33" actId="6549"/>
          <ac:spMkLst>
            <pc:docMk/>
            <pc:sldMk cId="2157637328" sldId="2146846961"/>
            <ac:spMk id="30" creationId="{E06BB6B9-658A-450F-B62C-C69D3A2F3532}"/>
          </ac:spMkLst>
        </pc:spChg>
      </pc:sldChg>
      <pc:sldChg chg="add">
        <pc:chgData name="Ss, Vidyashree" userId="0ebccc11-5d6b-4a49-ab54-ea1b81344123" providerId="ADAL" clId="{5D9BC3FD-58C5-449E-BAD2-77AF5945FD74}" dt="2022-03-11T10:08:21.470" v="62"/>
        <pc:sldMkLst>
          <pc:docMk/>
          <pc:sldMk cId="2161840231" sldId="2146847317"/>
        </pc:sldMkLst>
      </pc:sldChg>
      <pc:sldChg chg="del">
        <pc:chgData name="Ss, Vidyashree" userId="0ebccc11-5d6b-4a49-ab54-ea1b81344123" providerId="ADAL" clId="{5D9BC3FD-58C5-449E-BAD2-77AF5945FD74}" dt="2022-03-11T10:08:48.288" v="63" actId="47"/>
        <pc:sldMkLst>
          <pc:docMk/>
          <pc:sldMk cId="2791231828" sldId="2146847318"/>
        </pc:sldMkLst>
      </pc:sldChg>
      <pc:sldChg chg="addSp delSp modSp del mod">
        <pc:chgData name="Ss, Vidyashree" userId="0ebccc11-5d6b-4a49-ab54-ea1b81344123" providerId="ADAL" clId="{5D9BC3FD-58C5-449E-BAD2-77AF5945FD74}" dt="2022-03-11T10:02:01.407" v="17" actId="2696"/>
        <pc:sldMkLst>
          <pc:docMk/>
          <pc:sldMk cId="3350773470" sldId="2146847329"/>
        </pc:sldMkLst>
        <pc:picChg chg="add del mod">
          <ac:chgData name="Ss, Vidyashree" userId="0ebccc11-5d6b-4a49-ab54-ea1b81344123" providerId="ADAL" clId="{5D9BC3FD-58C5-449E-BAD2-77AF5945FD74}" dt="2022-03-11T09:31:44.087" v="3"/>
          <ac:picMkLst>
            <pc:docMk/>
            <pc:sldMk cId="3350773470" sldId="2146847329"/>
            <ac:picMk id="16" creationId="{89B85ABD-1C02-47D0-8C6E-1CAE7B74D5F6}"/>
          </ac:picMkLst>
        </pc:picChg>
      </pc:sldChg>
      <pc:sldChg chg="del">
        <pc:chgData name="Ss, Vidyashree" userId="0ebccc11-5d6b-4a49-ab54-ea1b81344123" providerId="ADAL" clId="{5D9BC3FD-58C5-449E-BAD2-77AF5945FD74}" dt="2022-03-11T10:05:08.106" v="61" actId="2696"/>
        <pc:sldMkLst>
          <pc:docMk/>
          <pc:sldMk cId="1572576930" sldId="2146847330"/>
        </pc:sldMkLst>
      </pc:sldChg>
      <pc:sldChg chg="add del">
        <pc:chgData name="Ss, Vidyashree" userId="0ebccc11-5d6b-4a49-ab54-ea1b81344123" providerId="ADAL" clId="{5D9BC3FD-58C5-449E-BAD2-77AF5945FD74}" dt="2022-03-11T09:33:44.383" v="6" actId="2696"/>
        <pc:sldMkLst>
          <pc:docMk/>
          <pc:sldMk cId="4098971770" sldId="2146847388"/>
        </pc:sldMkLst>
      </pc:sldChg>
    </pc:docChg>
  </pc:docChgLst>
  <pc:docChgLst>
    <pc:chgData name="Nathwani, Shaalin" userId="179094a6-4abf-4d42-bdb4-87f1e9b4588c" providerId="ADAL" clId="{BCAC8F79-ABC5-4706-8853-074920B522E4}"/>
    <pc:docChg chg="undo custSel addSld modSld modSection">
      <pc:chgData name="Nathwani, Shaalin" userId="179094a6-4abf-4d42-bdb4-87f1e9b4588c" providerId="ADAL" clId="{BCAC8F79-ABC5-4706-8853-074920B522E4}" dt="2021-10-18T09:14:30.290" v="5074"/>
      <pc:docMkLst>
        <pc:docMk/>
      </pc:docMkLst>
      <pc:sldChg chg="modSp mod">
        <pc:chgData name="Nathwani, Shaalin" userId="179094a6-4abf-4d42-bdb4-87f1e9b4588c" providerId="ADAL" clId="{BCAC8F79-ABC5-4706-8853-074920B522E4}" dt="2021-08-25T09:29:13.356" v="43" actId="1076"/>
        <pc:sldMkLst>
          <pc:docMk/>
          <pc:sldMk cId="3187321782" sldId="270"/>
        </pc:sldMkLst>
        <pc:spChg chg="mod">
          <ac:chgData name="Nathwani, Shaalin" userId="179094a6-4abf-4d42-bdb4-87f1e9b4588c" providerId="ADAL" clId="{BCAC8F79-ABC5-4706-8853-074920B522E4}" dt="2021-08-25T09:29:02.110" v="41" actId="1076"/>
          <ac:spMkLst>
            <pc:docMk/>
            <pc:sldMk cId="3187321782" sldId="270"/>
            <ac:spMk id="200" creationId="{597AB7C4-D222-41EA-A4D1-3474FD7B02C4}"/>
          </ac:spMkLst>
        </pc:spChg>
        <pc:spChg chg="mod">
          <ac:chgData name="Nathwani, Shaalin" userId="179094a6-4abf-4d42-bdb4-87f1e9b4588c" providerId="ADAL" clId="{BCAC8F79-ABC5-4706-8853-074920B522E4}" dt="2021-08-25T09:29:11.201" v="42" actId="1076"/>
          <ac:spMkLst>
            <pc:docMk/>
            <pc:sldMk cId="3187321782" sldId="270"/>
            <ac:spMk id="282" creationId="{99A48126-9976-470B-B089-F59183561B7D}"/>
          </ac:spMkLst>
        </pc:spChg>
        <pc:spChg chg="mod">
          <ac:chgData name="Nathwani, Shaalin" userId="179094a6-4abf-4d42-bdb4-87f1e9b4588c" providerId="ADAL" clId="{BCAC8F79-ABC5-4706-8853-074920B522E4}" dt="2021-08-25T09:29:13.356" v="43" actId="1076"/>
          <ac:spMkLst>
            <pc:docMk/>
            <pc:sldMk cId="3187321782" sldId="270"/>
            <ac:spMk id="286" creationId="{77BA0039-B0B4-4B7E-BA3D-DC6D33CAB86A}"/>
          </ac:spMkLst>
        </pc:spChg>
      </pc:sldChg>
      <pc:sldChg chg="modSp mod">
        <pc:chgData name="Nathwani, Shaalin" userId="179094a6-4abf-4d42-bdb4-87f1e9b4588c" providerId="ADAL" clId="{BCAC8F79-ABC5-4706-8853-074920B522E4}" dt="2021-08-25T09:19:34.837" v="40" actId="20577"/>
        <pc:sldMkLst>
          <pc:docMk/>
          <pc:sldMk cId="4011072619" sldId="2146847328"/>
        </pc:sldMkLst>
        <pc:spChg chg="mod">
          <ac:chgData name="Nathwani, Shaalin" userId="179094a6-4abf-4d42-bdb4-87f1e9b4588c" providerId="ADAL" clId="{BCAC8F79-ABC5-4706-8853-074920B522E4}" dt="2021-08-25T09:19:23.957" v="27" actId="20577"/>
          <ac:spMkLst>
            <pc:docMk/>
            <pc:sldMk cId="4011072619" sldId="2146847328"/>
            <ac:spMk id="10" creationId="{744037D0-53EE-4908-9B4E-4AF6F7093968}"/>
          </ac:spMkLst>
        </pc:spChg>
        <pc:spChg chg="mod">
          <ac:chgData name="Nathwani, Shaalin" userId="179094a6-4abf-4d42-bdb4-87f1e9b4588c" providerId="ADAL" clId="{BCAC8F79-ABC5-4706-8853-074920B522E4}" dt="2021-08-25T09:19:34.837" v="40" actId="20577"/>
          <ac:spMkLst>
            <pc:docMk/>
            <pc:sldMk cId="4011072619" sldId="2146847328"/>
            <ac:spMk id="11" creationId="{E974DCD8-991C-4DF3-A782-F5D6E1590C34}"/>
          </ac:spMkLst>
        </pc:spChg>
        <pc:spChg chg="mod">
          <ac:chgData name="Nathwani, Shaalin" userId="179094a6-4abf-4d42-bdb4-87f1e9b4588c" providerId="ADAL" clId="{BCAC8F79-ABC5-4706-8853-074920B522E4}" dt="2021-08-25T09:19:01.142" v="25" actId="20577"/>
          <ac:spMkLst>
            <pc:docMk/>
            <pc:sldMk cId="4011072619" sldId="2146847328"/>
            <ac:spMk id="12" creationId="{195791EC-B1FC-460A-9398-0B038A8825F0}"/>
          </ac:spMkLst>
        </pc:spChg>
      </pc:sldChg>
      <pc:sldChg chg="addSp modSp">
        <pc:chgData name="Nathwani, Shaalin" userId="179094a6-4abf-4d42-bdb4-87f1e9b4588c" providerId="ADAL" clId="{BCAC8F79-ABC5-4706-8853-074920B522E4}" dt="2021-10-18T09:14:30.290" v="5074"/>
        <pc:sldMkLst>
          <pc:docMk/>
          <pc:sldMk cId="3900431786" sldId="2146847365"/>
        </pc:sldMkLst>
        <pc:spChg chg="add mod">
          <ac:chgData name="Nathwani, Shaalin" userId="179094a6-4abf-4d42-bdb4-87f1e9b4588c" providerId="ADAL" clId="{BCAC8F79-ABC5-4706-8853-074920B522E4}" dt="2021-10-18T09:14:30.290" v="5074"/>
          <ac:spMkLst>
            <pc:docMk/>
            <pc:sldMk cId="3900431786" sldId="2146847365"/>
            <ac:spMk id="14" creationId="{B151397E-A358-48ED-87D9-8AF47DEFA3C3}"/>
          </ac:spMkLst>
        </pc:spChg>
      </pc:sldChg>
      <pc:sldChg chg="addSp modSp mod">
        <pc:chgData name="Nathwani, Shaalin" userId="179094a6-4abf-4d42-bdb4-87f1e9b4588c" providerId="ADAL" clId="{BCAC8F79-ABC5-4706-8853-074920B522E4}" dt="2021-10-04T09:15:55.350" v="1671" actId="20577"/>
        <pc:sldMkLst>
          <pc:docMk/>
          <pc:sldMk cId="3935458817" sldId="2146847367"/>
        </pc:sldMkLst>
        <pc:spChg chg="add mod">
          <ac:chgData name="Nathwani, Shaalin" userId="179094a6-4abf-4d42-bdb4-87f1e9b4588c" providerId="ADAL" clId="{BCAC8F79-ABC5-4706-8853-074920B522E4}" dt="2021-10-04T09:15:55.350" v="1671" actId="20577"/>
          <ac:spMkLst>
            <pc:docMk/>
            <pc:sldMk cId="3935458817" sldId="2146847367"/>
            <ac:spMk id="5" creationId="{357843C2-123D-4691-A34B-DDBAECFF8CB2}"/>
          </ac:spMkLst>
        </pc:spChg>
        <pc:spChg chg="mod">
          <ac:chgData name="Nathwani, Shaalin" userId="179094a6-4abf-4d42-bdb4-87f1e9b4588c" providerId="ADAL" clId="{BCAC8F79-ABC5-4706-8853-074920B522E4}" dt="2021-09-03T09:06:19.099" v="54" actId="20577"/>
          <ac:spMkLst>
            <pc:docMk/>
            <pc:sldMk cId="3935458817" sldId="2146847367"/>
            <ac:spMk id="242" creationId="{4564FCB3-7777-4AD5-82CD-33124E931665}"/>
          </ac:spMkLst>
        </pc:spChg>
      </pc:sldChg>
      <pc:sldChg chg="modSp">
        <pc:chgData name="Nathwani, Shaalin" userId="179094a6-4abf-4d42-bdb4-87f1e9b4588c" providerId="ADAL" clId="{BCAC8F79-ABC5-4706-8853-074920B522E4}" dt="2021-10-18T09:09:19.734" v="5072"/>
        <pc:sldMkLst>
          <pc:docMk/>
          <pc:sldMk cId="2487914101" sldId="2146847369"/>
        </pc:sldMkLst>
        <pc:graphicFrameChg chg="mod">
          <ac:chgData name="Nathwani, Shaalin" userId="179094a6-4abf-4d42-bdb4-87f1e9b4588c" providerId="ADAL" clId="{BCAC8F79-ABC5-4706-8853-074920B522E4}" dt="2021-10-18T09:09:19.734" v="5072"/>
          <ac:graphicFrameMkLst>
            <pc:docMk/>
            <pc:sldMk cId="2487914101" sldId="2146847369"/>
            <ac:graphicFrameMk id="13" creationId="{E1D6C4B5-254E-4047-A991-6D4968ADE379}"/>
          </ac:graphicFrameMkLst>
        </pc:graphicFrameChg>
      </pc:sldChg>
      <pc:sldChg chg="addSp modSp">
        <pc:chgData name="Nathwani, Shaalin" userId="179094a6-4abf-4d42-bdb4-87f1e9b4588c" providerId="ADAL" clId="{BCAC8F79-ABC5-4706-8853-074920B522E4}" dt="2021-10-18T09:12:30.505" v="5073"/>
        <pc:sldMkLst>
          <pc:docMk/>
          <pc:sldMk cId="420301549" sldId="2146847371"/>
        </pc:sldMkLst>
        <pc:spChg chg="add mod">
          <ac:chgData name="Nathwani, Shaalin" userId="179094a6-4abf-4d42-bdb4-87f1e9b4588c" providerId="ADAL" clId="{BCAC8F79-ABC5-4706-8853-074920B522E4}" dt="2021-10-18T09:12:30.505" v="5073"/>
          <ac:spMkLst>
            <pc:docMk/>
            <pc:sldMk cId="420301549" sldId="2146847371"/>
            <ac:spMk id="24" creationId="{9ABDC1FF-34EB-4B3F-96BF-07FC4B810A76}"/>
          </ac:spMkLst>
        </pc:spChg>
      </pc:sldChg>
      <pc:sldChg chg="addSp modSp mod">
        <pc:chgData name="Nathwani, Shaalin" userId="179094a6-4abf-4d42-bdb4-87f1e9b4588c" providerId="ADAL" clId="{BCAC8F79-ABC5-4706-8853-074920B522E4}" dt="2021-10-06T13:38:07.497" v="5069" actId="1076"/>
        <pc:sldMkLst>
          <pc:docMk/>
          <pc:sldMk cId="2584431280" sldId="2146847372"/>
        </pc:sldMkLst>
        <pc:spChg chg="add mod">
          <ac:chgData name="Nathwani, Shaalin" userId="179094a6-4abf-4d42-bdb4-87f1e9b4588c" providerId="ADAL" clId="{BCAC8F79-ABC5-4706-8853-074920B522E4}" dt="2021-10-06T13:38:07.497" v="5069" actId="1076"/>
          <ac:spMkLst>
            <pc:docMk/>
            <pc:sldMk cId="2584431280" sldId="2146847372"/>
            <ac:spMk id="16" creationId="{9AB0C277-149D-4DF0-BA62-C95A3A1F429F}"/>
          </ac:spMkLst>
        </pc:spChg>
        <pc:graphicFrameChg chg="modGraphic">
          <ac:chgData name="Nathwani, Shaalin" userId="179094a6-4abf-4d42-bdb4-87f1e9b4588c" providerId="ADAL" clId="{BCAC8F79-ABC5-4706-8853-074920B522E4}" dt="2021-10-06T13:36:31.123" v="5066" actId="20577"/>
          <ac:graphicFrameMkLst>
            <pc:docMk/>
            <pc:sldMk cId="2584431280" sldId="2146847372"/>
            <ac:graphicFrameMk id="15" creationId="{24FDDE7B-7BE6-4EFB-AEF1-669B0772DD9F}"/>
          </ac:graphicFrameMkLst>
        </pc:graphicFrameChg>
      </pc:sldChg>
      <pc:sldChg chg="addSp modSp mod">
        <pc:chgData name="Nathwani, Shaalin" userId="179094a6-4abf-4d42-bdb4-87f1e9b4588c" providerId="ADAL" clId="{BCAC8F79-ABC5-4706-8853-074920B522E4}" dt="2021-10-06T13:28:05.490" v="4820"/>
        <pc:sldMkLst>
          <pc:docMk/>
          <pc:sldMk cId="1129342914" sldId="2146847373"/>
        </pc:sldMkLst>
        <pc:spChg chg="add mod">
          <ac:chgData name="Nathwani, Shaalin" userId="179094a6-4abf-4d42-bdb4-87f1e9b4588c" providerId="ADAL" clId="{BCAC8F79-ABC5-4706-8853-074920B522E4}" dt="2021-10-06T13:28:05.490" v="4820"/>
          <ac:spMkLst>
            <pc:docMk/>
            <pc:sldMk cId="1129342914" sldId="2146847373"/>
            <ac:spMk id="16" creationId="{36A3E91E-E673-4F5A-ACA4-B0CAA9C7F9B6}"/>
          </ac:spMkLst>
        </pc:spChg>
        <pc:graphicFrameChg chg="mod modGraphic">
          <ac:chgData name="Nathwani, Shaalin" userId="179094a6-4abf-4d42-bdb4-87f1e9b4588c" providerId="ADAL" clId="{BCAC8F79-ABC5-4706-8853-074920B522E4}" dt="2021-10-06T13:27:52.361" v="4819" actId="20577"/>
          <ac:graphicFrameMkLst>
            <pc:docMk/>
            <pc:sldMk cId="1129342914" sldId="2146847373"/>
            <ac:graphicFrameMk id="15" creationId="{24FDDE7B-7BE6-4EFB-AEF1-669B0772DD9F}"/>
          </ac:graphicFrameMkLst>
        </pc:graphicFrameChg>
      </pc:sldChg>
      <pc:sldChg chg="addSp modSp mod">
        <pc:chgData name="Nathwani, Shaalin" userId="179094a6-4abf-4d42-bdb4-87f1e9b4588c" providerId="ADAL" clId="{BCAC8F79-ABC5-4706-8853-074920B522E4}" dt="2021-10-06T13:29:27.360" v="4863"/>
        <pc:sldMkLst>
          <pc:docMk/>
          <pc:sldMk cId="3795325203" sldId="2146847374"/>
        </pc:sldMkLst>
        <pc:spChg chg="add mod">
          <ac:chgData name="Nathwani, Shaalin" userId="179094a6-4abf-4d42-bdb4-87f1e9b4588c" providerId="ADAL" clId="{BCAC8F79-ABC5-4706-8853-074920B522E4}" dt="2021-10-06T13:29:27.360" v="4863"/>
          <ac:spMkLst>
            <pc:docMk/>
            <pc:sldMk cId="3795325203" sldId="2146847374"/>
            <ac:spMk id="16" creationId="{2E31F54D-994D-4980-92F9-0B18D1A99C40}"/>
          </ac:spMkLst>
        </pc:spChg>
        <pc:graphicFrameChg chg="modGraphic">
          <ac:chgData name="Nathwani, Shaalin" userId="179094a6-4abf-4d42-bdb4-87f1e9b4588c" providerId="ADAL" clId="{BCAC8F79-ABC5-4706-8853-074920B522E4}" dt="2021-10-06T13:29:16.264" v="4862" actId="20577"/>
          <ac:graphicFrameMkLst>
            <pc:docMk/>
            <pc:sldMk cId="3795325203" sldId="2146847374"/>
            <ac:graphicFrameMk id="15" creationId="{24FDDE7B-7BE6-4EFB-AEF1-669B0772DD9F}"/>
          </ac:graphicFrameMkLst>
        </pc:graphicFrameChg>
      </pc:sldChg>
      <pc:sldChg chg="addSp modSp mod">
        <pc:chgData name="Nathwani, Shaalin" userId="179094a6-4abf-4d42-bdb4-87f1e9b4588c" providerId="ADAL" clId="{BCAC8F79-ABC5-4706-8853-074920B522E4}" dt="2021-10-06T12:38:42.155" v="3055" actId="20577"/>
        <pc:sldMkLst>
          <pc:docMk/>
          <pc:sldMk cId="1461060297" sldId="2146847375"/>
        </pc:sldMkLst>
        <pc:spChg chg="add mod">
          <ac:chgData name="Nathwani, Shaalin" userId="179094a6-4abf-4d42-bdb4-87f1e9b4588c" providerId="ADAL" clId="{BCAC8F79-ABC5-4706-8853-074920B522E4}" dt="2021-10-06T12:38:42.155" v="3055" actId="20577"/>
          <ac:spMkLst>
            <pc:docMk/>
            <pc:sldMk cId="1461060297" sldId="2146847375"/>
            <ac:spMk id="10" creationId="{CCDDE109-B479-4794-B10C-239D47DEDA39}"/>
          </ac:spMkLst>
        </pc:spChg>
        <pc:graphicFrameChg chg="modGraphic">
          <ac:chgData name="Nathwani, Shaalin" userId="179094a6-4abf-4d42-bdb4-87f1e9b4588c" providerId="ADAL" clId="{BCAC8F79-ABC5-4706-8853-074920B522E4}" dt="2021-10-06T12:38:37.251" v="3047" actId="20577"/>
          <ac:graphicFrameMkLst>
            <pc:docMk/>
            <pc:sldMk cId="1461060297" sldId="2146847375"/>
            <ac:graphicFrameMk id="15" creationId="{24FDDE7B-7BE6-4EFB-AEF1-669B0772DD9F}"/>
          </ac:graphicFrameMkLst>
        </pc:graphicFrameChg>
      </pc:sldChg>
      <pc:sldChg chg="addSp delSp modSp mod">
        <pc:chgData name="Nathwani, Shaalin" userId="179094a6-4abf-4d42-bdb4-87f1e9b4588c" providerId="ADAL" clId="{BCAC8F79-ABC5-4706-8853-074920B522E4}" dt="2021-10-06T13:20:41.200" v="4716" actId="20577"/>
        <pc:sldMkLst>
          <pc:docMk/>
          <pc:sldMk cId="4279285952" sldId="2146847376"/>
        </pc:sldMkLst>
        <pc:spChg chg="add del mod">
          <ac:chgData name="Nathwani, Shaalin" userId="179094a6-4abf-4d42-bdb4-87f1e9b4588c" providerId="ADAL" clId="{BCAC8F79-ABC5-4706-8853-074920B522E4}" dt="2021-10-06T13:01:59.032" v="3658" actId="478"/>
          <ac:spMkLst>
            <pc:docMk/>
            <pc:sldMk cId="4279285952" sldId="2146847376"/>
            <ac:spMk id="4" creationId="{5FD3BEA8-CA27-4891-99B7-3ACC9E2C41B4}"/>
          </ac:spMkLst>
        </pc:spChg>
        <pc:spChg chg="add mod">
          <ac:chgData name="Nathwani, Shaalin" userId="179094a6-4abf-4d42-bdb4-87f1e9b4588c" providerId="ADAL" clId="{BCAC8F79-ABC5-4706-8853-074920B522E4}" dt="2021-10-06T13:19:01.776" v="4632" actId="20577"/>
          <ac:spMkLst>
            <pc:docMk/>
            <pc:sldMk cId="4279285952" sldId="2146847376"/>
            <ac:spMk id="5" creationId="{08C0A3C0-43CA-46C3-9F22-DFEC9B89962E}"/>
          </ac:spMkLst>
        </pc:spChg>
        <pc:graphicFrameChg chg="mod modGraphic">
          <ac:chgData name="Nathwani, Shaalin" userId="179094a6-4abf-4d42-bdb4-87f1e9b4588c" providerId="ADAL" clId="{BCAC8F79-ABC5-4706-8853-074920B522E4}" dt="2021-10-06T13:20:41.200" v="4716" actId="20577"/>
          <ac:graphicFrameMkLst>
            <pc:docMk/>
            <pc:sldMk cId="4279285952" sldId="2146847376"/>
            <ac:graphicFrameMk id="15" creationId="{24FDDE7B-7BE6-4EFB-AEF1-669B0772DD9F}"/>
          </ac:graphicFrameMkLst>
        </pc:graphicFrameChg>
      </pc:sldChg>
      <pc:sldChg chg="addSp delSp modSp mod">
        <pc:chgData name="Nathwani, Shaalin" userId="179094a6-4abf-4d42-bdb4-87f1e9b4588c" providerId="ADAL" clId="{BCAC8F79-ABC5-4706-8853-074920B522E4}" dt="2021-10-06T13:25:24.050" v="4762" actId="108"/>
        <pc:sldMkLst>
          <pc:docMk/>
          <pc:sldMk cId="3317846635" sldId="2146847377"/>
        </pc:sldMkLst>
        <pc:spChg chg="add mod">
          <ac:chgData name="Nathwani, Shaalin" userId="179094a6-4abf-4d42-bdb4-87f1e9b4588c" providerId="ADAL" clId="{BCAC8F79-ABC5-4706-8853-074920B522E4}" dt="2021-10-06T13:21:22.834" v="4717"/>
          <ac:spMkLst>
            <pc:docMk/>
            <pc:sldMk cId="3317846635" sldId="2146847377"/>
            <ac:spMk id="16" creationId="{2001B858-4E03-49FB-9587-382E45C9FEB6}"/>
          </ac:spMkLst>
        </pc:spChg>
        <pc:spChg chg="add del mod">
          <ac:chgData name="Nathwani, Shaalin" userId="179094a6-4abf-4d42-bdb4-87f1e9b4588c" providerId="ADAL" clId="{BCAC8F79-ABC5-4706-8853-074920B522E4}" dt="2021-10-06T13:25:12.335" v="4760" actId="478"/>
          <ac:spMkLst>
            <pc:docMk/>
            <pc:sldMk cId="3317846635" sldId="2146847377"/>
            <ac:spMk id="17" creationId="{08B137A4-C855-49CE-BACB-EFCF294A7405}"/>
          </ac:spMkLst>
        </pc:spChg>
        <pc:graphicFrameChg chg="mod modGraphic">
          <ac:chgData name="Nathwani, Shaalin" userId="179094a6-4abf-4d42-bdb4-87f1e9b4588c" providerId="ADAL" clId="{BCAC8F79-ABC5-4706-8853-074920B522E4}" dt="2021-10-06T13:25:24.050" v="4762" actId="108"/>
          <ac:graphicFrameMkLst>
            <pc:docMk/>
            <pc:sldMk cId="3317846635" sldId="2146847377"/>
            <ac:graphicFrameMk id="15" creationId="{24FDDE7B-7BE6-4EFB-AEF1-669B0772DD9F}"/>
          </ac:graphicFrameMkLst>
        </pc:graphicFrameChg>
      </pc:sldChg>
      <pc:sldChg chg="addSp modSp mod">
        <pc:chgData name="Nathwani, Shaalin" userId="179094a6-4abf-4d42-bdb4-87f1e9b4588c" providerId="ADAL" clId="{BCAC8F79-ABC5-4706-8853-074920B522E4}" dt="2021-10-18T08:49:26.513" v="5070"/>
        <pc:sldMkLst>
          <pc:docMk/>
          <pc:sldMk cId="183759902" sldId="2146847378"/>
        </pc:sldMkLst>
        <pc:spChg chg="add mod">
          <ac:chgData name="Nathwani, Shaalin" userId="179094a6-4abf-4d42-bdb4-87f1e9b4588c" providerId="ADAL" clId="{BCAC8F79-ABC5-4706-8853-074920B522E4}" dt="2021-10-18T08:49:26.513" v="5070"/>
          <ac:spMkLst>
            <pc:docMk/>
            <pc:sldMk cId="183759902" sldId="2146847378"/>
            <ac:spMk id="16" creationId="{BF6FC98A-24A9-46CF-A59F-7155584772D5}"/>
          </ac:spMkLst>
        </pc:spChg>
        <pc:graphicFrameChg chg="modGraphic">
          <ac:chgData name="Nathwani, Shaalin" userId="179094a6-4abf-4d42-bdb4-87f1e9b4588c" providerId="ADAL" clId="{BCAC8F79-ABC5-4706-8853-074920B522E4}" dt="2021-10-06T12:43:01.669" v="3106" actId="20577"/>
          <ac:graphicFrameMkLst>
            <pc:docMk/>
            <pc:sldMk cId="183759902" sldId="2146847378"/>
            <ac:graphicFrameMk id="15" creationId="{24FDDE7B-7BE6-4EFB-AEF1-669B0772DD9F}"/>
          </ac:graphicFrameMkLst>
        </pc:graphicFrameChg>
      </pc:sldChg>
      <pc:sldChg chg="addSp modSp mod">
        <pc:chgData name="Nathwani, Shaalin" userId="179094a6-4abf-4d42-bdb4-87f1e9b4588c" providerId="ADAL" clId="{BCAC8F79-ABC5-4706-8853-074920B522E4}" dt="2021-10-06T12:34:29.940" v="2864" actId="13926"/>
        <pc:sldMkLst>
          <pc:docMk/>
          <pc:sldMk cId="1964990107" sldId="2146847380"/>
        </pc:sldMkLst>
        <pc:spChg chg="add mod">
          <ac:chgData name="Nathwani, Shaalin" userId="179094a6-4abf-4d42-bdb4-87f1e9b4588c" providerId="ADAL" clId="{BCAC8F79-ABC5-4706-8853-074920B522E4}" dt="2021-10-04T09:16:18.819" v="1713" actId="20577"/>
          <ac:spMkLst>
            <pc:docMk/>
            <pc:sldMk cId="1964990107" sldId="2146847380"/>
            <ac:spMk id="5" creationId="{72FDD30B-9B3E-4437-A465-A2A66B7489DD}"/>
          </ac:spMkLst>
        </pc:spChg>
        <pc:spChg chg="add mod">
          <ac:chgData name="Nathwani, Shaalin" userId="179094a6-4abf-4d42-bdb4-87f1e9b4588c" providerId="ADAL" clId="{BCAC8F79-ABC5-4706-8853-074920B522E4}" dt="2021-10-04T09:32:38.513" v="2863" actId="207"/>
          <ac:spMkLst>
            <pc:docMk/>
            <pc:sldMk cId="1964990107" sldId="2146847380"/>
            <ac:spMk id="12" creationId="{869DE9FB-0D19-4103-971C-0D95569EC0FD}"/>
          </ac:spMkLst>
        </pc:spChg>
        <pc:graphicFrameChg chg="modGraphic">
          <ac:chgData name="Nathwani, Shaalin" userId="179094a6-4abf-4d42-bdb4-87f1e9b4588c" providerId="ADAL" clId="{BCAC8F79-ABC5-4706-8853-074920B522E4}" dt="2021-10-06T12:34:29.940" v="2864" actId="13926"/>
          <ac:graphicFrameMkLst>
            <pc:docMk/>
            <pc:sldMk cId="1964990107" sldId="2146847380"/>
            <ac:graphicFrameMk id="15" creationId="{24FDDE7B-7BE6-4EFB-AEF1-669B0772DD9F}"/>
          </ac:graphicFrameMkLst>
        </pc:graphicFrameChg>
      </pc:sldChg>
      <pc:sldChg chg="addSp modSp mod">
        <pc:chgData name="Nathwani, Shaalin" userId="179094a6-4abf-4d42-bdb4-87f1e9b4588c" providerId="ADAL" clId="{BCAC8F79-ABC5-4706-8853-074920B522E4}" dt="2021-10-06T12:43:20.608" v="3107"/>
        <pc:sldMkLst>
          <pc:docMk/>
          <pc:sldMk cId="1384751485" sldId="2146847381"/>
        </pc:sldMkLst>
        <pc:spChg chg="add mod">
          <ac:chgData name="Nathwani, Shaalin" userId="179094a6-4abf-4d42-bdb4-87f1e9b4588c" providerId="ADAL" clId="{BCAC8F79-ABC5-4706-8853-074920B522E4}" dt="2021-10-06T12:43:20.608" v="3107"/>
          <ac:spMkLst>
            <pc:docMk/>
            <pc:sldMk cId="1384751485" sldId="2146847381"/>
            <ac:spMk id="10" creationId="{965861DD-4C8C-4143-835E-04BA26D5C83A}"/>
          </ac:spMkLst>
        </pc:spChg>
        <pc:graphicFrameChg chg="mod modGraphic">
          <ac:chgData name="Nathwani, Shaalin" userId="179094a6-4abf-4d42-bdb4-87f1e9b4588c" providerId="ADAL" clId="{BCAC8F79-ABC5-4706-8853-074920B522E4}" dt="2021-10-06T12:42:07.224" v="3091" actId="13926"/>
          <ac:graphicFrameMkLst>
            <pc:docMk/>
            <pc:sldMk cId="1384751485" sldId="2146847381"/>
            <ac:graphicFrameMk id="15" creationId="{24FDDE7B-7BE6-4EFB-AEF1-669B0772DD9F}"/>
          </ac:graphicFrameMkLst>
        </pc:graphicFrameChg>
      </pc:sldChg>
      <pc:sldChg chg="addSp modSp mod">
        <pc:chgData name="Nathwani, Shaalin" userId="179094a6-4abf-4d42-bdb4-87f1e9b4588c" providerId="ADAL" clId="{BCAC8F79-ABC5-4706-8853-074920B522E4}" dt="2021-10-04T09:13:33.949" v="1632" actId="20577"/>
        <pc:sldMkLst>
          <pc:docMk/>
          <pc:sldMk cId="1569801637" sldId="2146847382"/>
        </pc:sldMkLst>
        <pc:spChg chg="add mod">
          <ac:chgData name="Nathwani, Shaalin" userId="179094a6-4abf-4d42-bdb4-87f1e9b4588c" providerId="ADAL" clId="{BCAC8F79-ABC5-4706-8853-074920B522E4}" dt="2021-10-04T09:13:33.949" v="1632" actId="20577"/>
          <ac:spMkLst>
            <pc:docMk/>
            <pc:sldMk cId="1569801637" sldId="2146847382"/>
            <ac:spMk id="5" creationId="{F28B33D1-1788-4704-9DAD-04BC58221A0D}"/>
          </ac:spMkLst>
        </pc:spChg>
        <pc:graphicFrameChg chg="mod modGraphic">
          <ac:chgData name="Nathwani, Shaalin" userId="179094a6-4abf-4d42-bdb4-87f1e9b4588c" providerId="ADAL" clId="{BCAC8F79-ABC5-4706-8853-074920B522E4}" dt="2021-10-04T09:13:14.431" v="1624" actId="20577"/>
          <ac:graphicFrameMkLst>
            <pc:docMk/>
            <pc:sldMk cId="1569801637" sldId="2146847382"/>
            <ac:graphicFrameMk id="15" creationId="{24FDDE7B-7BE6-4EFB-AEF1-669B0772DD9F}"/>
          </ac:graphicFrameMkLst>
        </pc:graphicFrameChg>
      </pc:sldChg>
      <pc:sldChg chg="modSp new mod">
        <pc:chgData name="Nathwani, Shaalin" userId="179094a6-4abf-4d42-bdb4-87f1e9b4588c" providerId="ADAL" clId="{BCAC8F79-ABC5-4706-8853-074920B522E4}" dt="2021-09-03T09:22:51.297" v="420" actId="20577"/>
        <pc:sldMkLst>
          <pc:docMk/>
          <pc:sldMk cId="2122458547" sldId="2146847383"/>
        </pc:sldMkLst>
        <pc:spChg chg="mod">
          <ac:chgData name="Nathwani, Shaalin" userId="179094a6-4abf-4d42-bdb4-87f1e9b4588c" providerId="ADAL" clId="{BCAC8F79-ABC5-4706-8853-074920B522E4}" dt="2021-09-03T09:22:51.297" v="420" actId="20577"/>
          <ac:spMkLst>
            <pc:docMk/>
            <pc:sldMk cId="2122458547" sldId="2146847383"/>
            <ac:spMk id="3" creationId="{4A69DB3E-C1D3-47A0-BEF2-67E32DAF730E}"/>
          </ac:spMkLst>
        </pc:spChg>
      </pc:sldChg>
    </pc:docChg>
  </pc:docChgLst>
  <pc:docChgLst>
    <pc:chgData name="Atkar, Devyani Anil" userId="30060140-18fd-4dc5-aee4-f2420943b387" providerId="ADAL" clId="{B0DF8768-B737-492B-B244-5BDFD0659E66}"/>
    <pc:docChg chg="custSel delSld modSld modMainMaster modSection">
      <pc:chgData name="Atkar, Devyani Anil" userId="30060140-18fd-4dc5-aee4-f2420943b387" providerId="ADAL" clId="{B0DF8768-B737-492B-B244-5BDFD0659E66}" dt="2022-03-08T05:57:17.666" v="151" actId="20577"/>
      <pc:docMkLst>
        <pc:docMk/>
      </pc:docMkLst>
      <pc:sldChg chg="modSp mod">
        <pc:chgData name="Atkar, Devyani Anil" userId="30060140-18fd-4dc5-aee4-f2420943b387" providerId="ADAL" clId="{B0DF8768-B737-492B-B244-5BDFD0659E66}" dt="2022-03-08T05:57:12.457" v="146" actId="20577"/>
        <pc:sldMkLst>
          <pc:docMk/>
          <pc:sldMk cId="3350460562" sldId="2146846959"/>
        </pc:sldMkLst>
        <pc:spChg chg="mod">
          <ac:chgData name="Atkar, Devyani Anil" userId="30060140-18fd-4dc5-aee4-f2420943b387" providerId="ADAL" clId="{B0DF8768-B737-492B-B244-5BDFD0659E66}" dt="2022-03-08T05:57:12.457" v="146" actId="20577"/>
          <ac:spMkLst>
            <pc:docMk/>
            <pc:sldMk cId="3350460562" sldId="2146846959"/>
            <ac:spMk id="11" creationId="{FEFA3494-A8DC-4F73-9B02-7BC7E741F9E0}"/>
          </ac:spMkLst>
        </pc:spChg>
      </pc:sldChg>
      <pc:sldChg chg="modSp">
        <pc:chgData name="Atkar, Devyani Anil" userId="30060140-18fd-4dc5-aee4-f2420943b387" providerId="ADAL" clId="{B0DF8768-B737-492B-B244-5BDFD0659E66}" dt="2022-03-08T05:52:47.122" v="141"/>
        <pc:sldMkLst>
          <pc:docMk/>
          <pc:sldMk cId="2810327613" sldId="2146847319"/>
        </pc:sldMkLst>
        <pc:spChg chg="mod">
          <ac:chgData name="Atkar, Devyani Anil" userId="30060140-18fd-4dc5-aee4-f2420943b387" providerId="ADAL" clId="{B0DF8768-B737-492B-B244-5BDFD0659E66}" dt="2022-03-08T05:52:47.122" v="141"/>
          <ac:spMkLst>
            <pc:docMk/>
            <pc:sldMk cId="2810327613" sldId="2146847319"/>
            <ac:spMk id="20" creationId="{18D7E80D-A4C0-4F4D-ACE6-D234C9FC98F3}"/>
          </ac:spMkLst>
        </pc:spChg>
      </pc:sldChg>
      <pc:sldChg chg="modSp mod">
        <pc:chgData name="Atkar, Devyani Anil" userId="30060140-18fd-4dc5-aee4-f2420943b387" providerId="ADAL" clId="{B0DF8768-B737-492B-B244-5BDFD0659E66}" dt="2022-03-08T05:57:17.666" v="151" actId="20577"/>
        <pc:sldMkLst>
          <pc:docMk/>
          <pc:sldMk cId="4011072619" sldId="2146847328"/>
        </pc:sldMkLst>
        <pc:spChg chg="mod">
          <ac:chgData name="Atkar, Devyani Anil" userId="30060140-18fd-4dc5-aee4-f2420943b387" providerId="ADAL" clId="{B0DF8768-B737-492B-B244-5BDFD0659E66}" dt="2022-02-02T10:02:00.291" v="78"/>
          <ac:spMkLst>
            <pc:docMk/>
            <pc:sldMk cId="4011072619" sldId="2146847328"/>
            <ac:spMk id="10" creationId="{744037D0-53EE-4908-9B4E-4AF6F7093968}"/>
          </ac:spMkLst>
        </pc:spChg>
        <pc:spChg chg="mod">
          <ac:chgData name="Atkar, Devyani Anil" userId="30060140-18fd-4dc5-aee4-f2420943b387" providerId="ADAL" clId="{B0DF8768-B737-492B-B244-5BDFD0659E66}" dt="2022-02-02T10:02:29.419" v="139" actId="20577"/>
          <ac:spMkLst>
            <pc:docMk/>
            <pc:sldMk cId="4011072619" sldId="2146847328"/>
            <ac:spMk id="11" creationId="{E974DCD8-991C-4DF3-A782-F5D6E1590C34}"/>
          </ac:spMkLst>
        </pc:spChg>
        <pc:spChg chg="mod">
          <ac:chgData name="Atkar, Devyani Anil" userId="30060140-18fd-4dc5-aee4-f2420943b387" providerId="ADAL" clId="{B0DF8768-B737-492B-B244-5BDFD0659E66}" dt="2022-03-08T05:57:17.666" v="151" actId="20577"/>
          <ac:spMkLst>
            <pc:docMk/>
            <pc:sldMk cId="4011072619" sldId="2146847328"/>
            <ac:spMk id="495" creationId="{3C78D542-7D5A-4D20-8F5E-7D83B478A691}"/>
          </ac:spMkLst>
        </pc:spChg>
        <pc:cxnChg chg="mod">
          <ac:chgData name="Atkar, Devyani Anil" userId="30060140-18fd-4dc5-aee4-f2420943b387" providerId="ADAL" clId="{B0DF8768-B737-492B-B244-5BDFD0659E66}" dt="2022-02-02T10:02:03.800" v="93" actId="1036"/>
          <ac:cxnSpMkLst>
            <pc:docMk/>
            <pc:sldMk cId="4011072619" sldId="2146847328"/>
            <ac:cxnSpMk id="490" creationId="{9EE4DF0A-A9F1-45D6-B212-A15509D16E9D}"/>
          </ac:cxnSpMkLst>
        </pc:cxnChg>
      </pc:sldChg>
      <pc:sldChg chg="modSp mod">
        <pc:chgData name="Atkar, Devyani Anil" userId="30060140-18fd-4dc5-aee4-f2420943b387" providerId="ADAL" clId="{B0DF8768-B737-492B-B244-5BDFD0659E66}" dt="2022-01-31T11:34:03.677" v="75" actId="207"/>
        <pc:sldMkLst>
          <pc:docMk/>
          <pc:sldMk cId="1760734549" sldId="2146847363"/>
        </pc:sldMkLst>
        <pc:spChg chg="mod">
          <ac:chgData name="Atkar, Devyani Anil" userId="30060140-18fd-4dc5-aee4-f2420943b387" providerId="ADAL" clId="{B0DF8768-B737-492B-B244-5BDFD0659E66}" dt="2022-01-31T11:33:54.559" v="74" actId="207"/>
          <ac:spMkLst>
            <pc:docMk/>
            <pc:sldMk cId="1760734549" sldId="2146847363"/>
            <ac:spMk id="22" creationId="{FAF0DFE7-D588-42EE-A928-957A4390272A}"/>
          </ac:spMkLst>
        </pc:spChg>
        <pc:spChg chg="mod">
          <ac:chgData name="Atkar, Devyani Anil" userId="30060140-18fd-4dc5-aee4-f2420943b387" providerId="ADAL" clId="{B0DF8768-B737-492B-B244-5BDFD0659E66}" dt="2022-01-31T11:33:54.559" v="74" actId="207"/>
          <ac:spMkLst>
            <pc:docMk/>
            <pc:sldMk cId="1760734549" sldId="2146847363"/>
            <ac:spMk id="23" creationId="{A88813E3-583E-48BA-A1EA-8D092B6ED038}"/>
          </ac:spMkLst>
        </pc:spChg>
        <pc:graphicFrameChg chg="modGraphic">
          <ac:chgData name="Atkar, Devyani Anil" userId="30060140-18fd-4dc5-aee4-f2420943b387" providerId="ADAL" clId="{B0DF8768-B737-492B-B244-5BDFD0659E66}" dt="2022-01-31T11:34:03.677" v="75" actId="207"/>
          <ac:graphicFrameMkLst>
            <pc:docMk/>
            <pc:sldMk cId="1760734549" sldId="2146847363"/>
            <ac:graphicFrameMk id="12" creationId="{18069194-4058-49E6-BA4C-7954C0646E61}"/>
          </ac:graphicFrameMkLst>
        </pc:graphicFrameChg>
      </pc:sldChg>
      <pc:sldChg chg="del mod modShow">
        <pc:chgData name="Atkar, Devyani Anil" userId="30060140-18fd-4dc5-aee4-f2420943b387" providerId="ADAL" clId="{B0DF8768-B737-492B-B244-5BDFD0659E66}" dt="2022-02-02T10:21:43.215" v="140" actId="47"/>
        <pc:sldMkLst>
          <pc:docMk/>
          <pc:sldMk cId="3935458817" sldId="2146847367"/>
        </pc:sldMkLst>
      </pc:sldChg>
      <pc:sldChg chg="modSp mod">
        <pc:chgData name="Atkar, Devyani Anil" userId="30060140-18fd-4dc5-aee4-f2420943b387" providerId="ADAL" clId="{B0DF8768-B737-492B-B244-5BDFD0659E66}" dt="2022-01-31T11:01:10.418" v="72" actId="207"/>
        <pc:sldMkLst>
          <pc:docMk/>
          <pc:sldMk cId="1883859609" sldId="2146847370"/>
        </pc:sldMkLst>
        <pc:spChg chg="mod">
          <ac:chgData name="Atkar, Devyani Anil" userId="30060140-18fd-4dc5-aee4-f2420943b387" providerId="ADAL" clId="{B0DF8768-B737-492B-B244-5BDFD0659E66}" dt="2022-01-31T11:01:00.577" v="71" actId="207"/>
          <ac:spMkLst>
            <pc:docMk/>
            <pc:sldMk cId="1883859609" sldId="2146847370"/>
            <ac:spMk id="15" creationId="{718A5292-A3AE-4ADA-9419-ABEA40A06D05}"/>
          </ac:spMkLst>
        </pc:spChg>
        <pc:graphicFrameChg chg="modGraphic">
          <ac:chgData name="Atkar, Devyani Anil" userId="30060140-18fd-4dc5-aee4-f2420943b387" providerId="ADAL" clId="{B0DF8768-B737-492B-B244-5BDFD0659E66}" dt="2022-01-31T11:01:10.418" v="72" actId="207"/>
          <ac:graphicFrameMkLst>
            <pc:docMk/>
            <pc:sldMk cId="1883859609" sldId="2146847370"/>
            <ac:graphicFrameMk id="14" creationId="{F0423E4E-7FAD-4AB3-99B2-F24577B59D66}"/>
          </ac:graphicFrameMkLst>
        </pc:graphicFrameChg>
      </pc:sldChg>
      <pc:sldChg chg="delSp modSp mod">
        <pc:chgData name="Atkar, Devyani Anil" userId="30060140-18fd-4dc5-aee4-f2420943b387" providerId="ADAL" clId="{B0DF8768-B737-492B-B244-5BDFD0659E66}" dt="2022-01-31T11:00:48.182" v="70" actId="14100"/>
        <pc:sldMkLst>
          <pc:docMk/>
          <pc:sldMk cId="2584431280" sldId="2146847372"/>
        </pc:sldMkLst>
        <pc:spChg chg="mod">
          <ac:chgData name="Atkar, Devyani Anil" userId="30060140-18fd-4dc5-aee4-f2420943b387" providerId="ADAL" clId="{B0DF8768-B737-492B-B244-5BDFD0659E66}" dt="2022-01-31T11:00:48.182" v="70" actId="14100"/>
          <ac:spMkLst>
            <pc:docMk/>
            <pc:sldMk cId="2584431280" sldId="2146847372"/>
            <ac:spMk id="13" creationId="{A2A2B339-34D0-4E4C-A64A-1D4F53CF4E1E}"/>
          </ac:spMkLst>
        </pc:spChg>
        <pc:spChg chg="del">
          <ac:chgData name="Atkar, Devyani Anil" userId="30060140-18fd-4dc5-aee4-f2420943b387" providerId="ADAL" clId="{B0DF8768-B737-492B-B244-5BDFD0659E66}" dt="2022-01-31T11:00:44.099" v="69" actId="478"/>
          <ac:spMkLst>
            <pc:docMk/>
            <pc:sldMk cId="2584431280" sldId="2146847372"/>
            <ac:spMk id="16" creationId="{4A19A5D7-7A99-40B5-BD54-B2D14D171899}"/>
          </ac:spMkLst>
        </pc:spChg>
      </pc:sldChg>
      <pc:sldChg chg="modSp mod">
        <pc:chgData name="Atkar, Devyani Anil" userId="30060140-18fd-4dc5-aee4-f2420943b387" providerId="ADAL" clId="{B0DF8768-B737-492B-B244-5BDFD0659E66}" dt="2022-01-31T11:00:10.347" v="68" actId="207"/>
        <pc:sldMkLst>
          <pc:docMk/>
          <pc:sldMk cId="3317846635" sldId="2146847377"/>
        </pc:sldMkLst>
        <pc:spChg chg="mod">
          <ac:chgData name="Atkar, Devyani Anil" userId="30060140-18fd-4dc5-aee4-f2420943b387" providerId="ADAL" clId="{B0DF8768-B737-492B-B244-5BDFD0659E66}" dt="2022-01-31T11:00:00.321" v="67" actId="207"/>
          <ac:spMkLst>
            <pc:docMk/>
            <pc:sldMk cId="3317846635" sldId="2146847377"/>
            <ac:spMk id="16" creationId="{D22E33CC-1DB4-4D84-8546-F2DC8663353D}"/>
          </ac:spMkLst>
        </pc:spChg>
        <pc:spChg chg="mod">
          <ac:chgData name="Atkar, Devyani Anil" userId="30060140-18fd-4dc5-aee4-f2420943b387" providerId="ADAL" clId="{B0DF8768-B737-492B-B244-5BDFD0659E66}" dt="2022-01-31T11:00:00.321" v="67" actId="207"/>
          <ac:spMkLst>
            <pc:docMk/>
            <pc:sldMk cId="3317846635" sldId="2146847377"/>
            <ac:spMk id="26" creationId="{4F7FFED5-22BA-47DE-898F-A456A970819E}"/>
          </ac:spMkLst>
        </pc:spChg>
        <pc:graphicFrameChg chg="modGraphic">
          <ac:chgData name="Atkar, Devyani Anil" userId="30060140-18fd-4dc5-aee4-f2420943b387" providerId="ADAL" clId="{B0DF8768-B737-492B-B244-5BDFD0659E66}" dt="2022-01-31T11:00:10.347" v="68" actId="207"/>
          <ac:graphicFrameMkLst>
            <pc:docMk/>
            <pc:sldMk cId="3317846635" sldId="2146847377"/>
            <ac:graphicFrameMk id="15" creationId="{24FDDE7B-7BE6-4EFB-AEF1-669B0772DD9F}"/>
          </ac:graphicFrameMkLst>
        </pc:graphicFrameChg>
      </pc:sldChg>
      <pc:sldChg chg="modSp mod">
        <pc:chgData name="Atkar, Devyani Anil" userId="30060140-18fd-4dc5-aee4-f2420943b387" providerId="ADAL" clId="{B0DF8768-B737-492B-B244-5BDFD0659E66}" dt="2022-01-31T10:59:46.209" v="66" actId="207"/>
        <pc:sldMkLst>
          <pc:docMk/>
          <pc:sldMk cId="1569801637" sldId="2146847382"/>
        </pc:sldMkLst>
        <pc:graphicFrameChg chg="modGraphic">
          <ac:chgData name="Atkar, Devyani Anil" userId="30060140-18fd-4dc5-aee4-f2420943b387" providerId="ADAL" clId="{B0DF8768-B737-492B-B244-5BDFD0659E66}" dt="2022-01-31T10:59:46.209" v="66" actId="207"/>
          <ac:graphicFrameMkLst>
            <pc:docMk/>
            <pc:sldMk cId="1569801637" sldId="2146847382"/>
            <ac:graphicFrameMk id="15" creationId="{24FDDE7B-7BE6-4EFB-AEF1-669B0772DD9F}"/>
          </ac:graphicFrameMkLst>
        </pc:graphicFrameChg>
      </pc:sldChg>
      <pc:sldChg chg="addSp delSp modSp mod">
        <pc:chgData name="Atkar, Devyani Anil" userId="30060140-18fd-4dc5-aee4-f2420943b387" providerId="ADAL" clId="{B0DF8768-B737-492B-B244-5BDFD0659E66}" dt="2022-01-31T10:59:36.175" v="65" actId="1036"/>
        <pc:sldMkLst>
          <pc:docMk/>
          <pc:sldMk cId="236971706" sldId="2146847387"/>
        </pc:sldMkLst>
        <pc:spChg chg="mod">
          <ac:chgData name="Atkar, Devyani Anil" userId="30060140-18fd-4dc5-aee4-f2420943b387" providerId="ADAL" clId="{B0DF8768-B737-492B-B244-5BDFD0659E66}" dt="2022-01-31T10:59:36.175" v="65" actId="1036"/>
          <ac:spMkLst>
            <pc:docMk/>
            <pc:sldMk cId="236971706" sldId="2146847387"/>
            <ac:spMk id="153" creationId="{7F2D53DB-DC66-4BEA-8F2D-09C02BD13D92}"/>
          </ac:spMkLst>
        </pc:spChg>
        <pc:spChg chg="mod">
          <ac:chgData name="Atkar, Devyani Anil" userId="30060140-18fd-4dc5-aee4-f2420943b387" providerId="ADAL" clId="{B0DF8768-B737-492B-B244-5BDFD0659E66}" dt="2022-01-31T10:59:36.175" v="65" actId="1036"/>
          <ac:spMkLst>
            <pc:docMk/>
            <pc:sldMk cId="236971706" sldId="2146847387"/>
            <ac:spMk id="154" creationId="{F8ACA560-8B8E-4D04-A944-FCF20783721B}"/>
          </ac:spMkLst>
        </pc:spChg>
        <pc:spChg chg="mod">
          <ac:chgData name="Atkar, Devyani Anil" userId="30060140-18fd-4dc5-aee4-f2420943b387" providerId="ADAL" clId="{B0DF8768-B737-492B-B244-5BDFD0659E66}" dt="2022-01-31T10:59:36.175" v="65" actId="1036"/>
          <ac:spMkLst>
            <pc:docMk/>
            <pc:sldMk cId="236971706" sldId="2146847387"/>
            <ac:spMk id="165" creationId="{4FE685EC-3F33-40BD-B155-F8454BF764C6}"/>
          </ac:spMkLst>
        </pc:spChg>
        <pc:spChg chg="del mod">
          <ac:chgData name="Atkar, Devyani Anil" userId="30060140-18fd-4dc5-aee4-f2420943b387" providerId="ADAL" clId="{B0DF8768-B737-492B-B244-5BDFD0659E66}" dt="2022-01-31T10:58:46.537" v="61" actId="478"/>
          <ac:spMkLst>
            <pc:docMk/>
            <pc:sldMk cId="236971706" sldId="2146847387"/>
            <ac:spMk id="166" creationId="{8FCB4E9E-EDC1-4C7F-A3A1-C0FF5DEF9936}"/>
          </ac:spMkLst>
        </pc:spChg>
        <pc:spChg chg="add mod">
          <ac:chgData name="Atkar, Devyani Anil" userId="30060140-18fd-4dc5-aee4-f2420943b387" providerId="ADAL" clId="{B0DF8768-B737-492B-B244-5BDFD0659E66}" dt="2022-01-31T10:58:43.370" v="60" actId="20577"/>
          <ac:spMkLst>
            <pc:docMk/>
            <pc:sldMk cId="236971706" sldId="2146847387"/>
            <ac:spMk id="167" creationId="{A50CC791-F89F-41C9-9399-838FE6421EB4}"/>
          </ac:spMkLst>
        </pc:spChg>
        <pc:spChg chg="mod">
          <ac:chgData name="Atkar, Devyani Anil" userId="30060140-18fd-4dc5-aee4-f2420943b387" providerId="ADAL" clId="{B0DF8768-B737-492B-B244-5BDFD0659E66}" dt="2022-01-31T10:59:36.175" v="65" actId="1036"/>
          <ac:spMkLst>
            <pc:docMk/>
            <pc:sldMk cId="236971706" sldId="2146847387"/>
            <ac:spMk id="178" creationId="{0F933D43-6CF1-4483-93D0-D2D87483FB20}"/>
          </ac:spMkLst>
        </pc:spChg>
        <pc:spChg chg="mod">
          <ac:chgData name="Atkar, Devyani Anil" userId="30060140-18fd-4dc5-aee4-f2420943b387" providerId="ADAL" clId="{B0DF8768-B737-492B-B244-5BDFD0659E66}" dt="2022-01-31T10:58:21.110" v="30" actId="1076"/>
          <ac:spMkLst>
            <pc:docMk/>
            <pc:sldMk cId="236971706" sldId="2146847387"/>
            <ac:spMk id="200" creationId="{597AB7C4-D222-41EA-A4D1-3474FD7B02C4}"/>
          </ac:spMkLst>
        </pc:spChg>
        <pc:spChg chg="mod">
          <ac:chgData name="Atkar, Devyani Anil" userId="30060140-18fd-4dc5-aee4-f2420943b387" providerId="ADAL" clId="{B0DF8768-B737-492B-B244-5BDFD0659E66}" dt="2022-01-31T10:59:36.175" v="65" actId="1036"/>
          <ac:spMkLst>
            <pc:docMk/>
            <pc:sldMk cId="236971706" sldId="2146847387"/>
            <ac:spMk id="222" creationId="{93785FE4-8DB9-490A-99C5-C3629D7BE0A6}"/>
          </ac:spMkLst>
        </pc:spChg>
      </pc:sldChg>
      <pc:sldMasterChg chg="modSp modSldLayout">
        <pc:chgData name="Atkar, Devyani Anil" userId="30060140-18fd-4dc5-aee4-f2420943b387" providerId="ADAL" clId="{B0DF8768-B737-492B-B244-5BDFD0659E66}" dt="2022-03-08T05:52:47.122" v="141"/>
        <pc:sldMasterMkLst>
          <pc:docMk/>
          <pc:sldMasterMk cId="286210591" sldId="2147483866"/>
        </pc:sldMasterMkLst>
        <pc:spChg chg="mod">
          <ac:chgData name="Atkar, Devyani Anil" userId="30060140-18fd-4dc5-aee4-f2420943b387" providerId="ADAL" clId="{B0DF8768-B737-492B-B244-5BDFD0659E66}" dt="2022-03-08T05:52:47.122" v="141"/>
          <ac:spMkLst>
            <pc:docMk/>
            <pc:sldMasterMk cId="286210591" sldId="2147483866"/>
            <ac:spMk id="25" creationId="{8DEAF7F0-ADBE-DA4B-80DE-727BD0E615AA}"/>
          </ac:spMkLst>
        </pc:spChg>
        <pc:sldLayoutChg chg="modSp">
          <pc:chgData name="Atkar, Devyani Anil" userId="30060140-18fd-4dc5-aee4-f2420943b387" providerId="ADAL" clId="{B0DF8768-B737-492B-B244-5BDFD0659E66}" dt="2022-03-08T05:52:47.122" v="141"/>
          <pc:sldLayoutMkLst>
            <pc:docMk/>
            <pc:sldMasterMk cId="286210591" sldId="2147483866"/>
            <pc:sldLayoutMk cId="1367184953" sldId="2147483867"/>
          </pc:sldLayoutMkLst>
          <pc:spChg chg="mod">
            <ac:chgData name="Atkar, Devyani Anil" userId="30060140-18fd-4dc5-aee4-f2420943b387" providerId="ADAL" clId="{B0DF8768-B737-492B-B244-5BDFD0659E66}" dt="2022-03-08T05:52:47.122" v="141"/>
            <ac:spMkLst>
              <pc:docMk/>
              <pc:sldMasterMk cId="286210591" sldId="2147483866"/>
              <pc:sldLayoutMk cId="1367184953" sldId="2147483867"/>
              <ac:spMk id="16" creationId="{E5395A3B-D1FC-4144-87EB-0814533E3CDA}"/>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1625169663" sldId="2147483869"/>
          </pc:sldLayoutMkLst>
          <pc:spChg chg="mod">
            <ac:chgData name="Atkar, Devyani Anil" userId="30060140-18fd-4dc5-aee4-f2420943b387" providerId="ADAL" clId="{B0DF8768-B737-492B-B244-5BDFD0659E66}" dt="2022-03-08T05:52:47.122" v="141"/>
            <ac:spMkLst>
              <pc:docMk/>
              <pc:sldMasterMk cId="286210591" sldId="2147483866"/>
              <pc:sldLayoutMk cId="1625169663" sldId="2147483869"/>
              <ac:spMk id="5" creationId="{576D3AD0-C81D-4B6F-AF8C-3B3FD9443CEC}"/>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087181751" sldId="2147483892"/>
          </pc:sldLayoutMkLst>
          <pc:spChg chg="mod">
            <ac:chgData name="Atkar, Devyani Anil" userId="30060140-18fd-4dc5-aee4-f2420943b387" providerId="ADAL" clId="{B0DF8768-B737-492B-B244-5BDFD0659E66}" dt="2022-03-08T05:52:47.122" v="141"/>
            <ac:spMkLst>
              <pc:docMk/>
              <pc:sldMasterMk cId="286210591" sldId="2147483866"/>
              <pc:sldLayoutMk cId="2087181751" sldId="2147483892"/>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057868653" sldId="2147483893"/>
          </pc:sldLayoutMkLst>
          <pc:spChg chg="mod">
            <ac:chgData name="Atkar, Devyani Anil" userId="30060140-18fd-4dc5-aee4-f2420943b387" providerId="ADAL" clId="{B0DF8768-B737-492B-B244-5BDFD0659E66}" dt="2022-03-08T05:52:47.122" v="141"/>
            <ac:spMkLst>
              <pc:docMk/>
              <pc:sldMasterMk cId="286210591" sldId="2147483866"/>
              <pc:sldLayoutMk cId="2057868653" sldId="2147483893"/>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3436588445" sldId="2147483894"/>
          </pc:sldLayoutMkLst>
          <pc:spChg chg="mod">
            <ac:chgData name="Atkar, Devyani Anil" userId="30060140-18fd-4dc5-aee4-f2420943b387" providerId="ADAL" clId="{B0DF8768-B737-492B-B244-5BDFD0659E66}" dt="2022-03-08T05:52:47.122" v="141"/>
            <ac:spMkLst>
              <pc:docMk/>
              <pc:sldMasterMk cId="286210591" sldId="2147483866"/>
              <pc:sldLayoutMk cId="3436588445" sldId="2147483894"/>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414565751" sldId="2147483895"/>
          </pc:sldLayoutMkLst>
          <pc:spChg chg="mod">
            <ac:chgData name="Atkar, Devyani Anil" userId="30060140-18fd-4dc5-aee4-f2420943b387" providerId="ADAL" clId="{B0DF8768-B737-492B-B244-5BDFD0659E66}" dt="2022-03-08T05:52:47.122" v="141"/>
            <ac:spMkLst>
              <pc:docMk/>
              <pc:sldMasterMk cId="286210591" sldId="2147483866"/>
              <pc:sldLayoutMk cId="2414565751" sldId="2147483895"/>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801534995" sldId="2147483896"/>
          </pc:sldLayoutMkLst>
          <pc:spChg chg="mod">
            <ac:chgData name="Atkar, Devyani Anil" userId="30060140-18fd-4dc5-aee4-f2420943b387" providerId="ADAL" clId="{B0DF8768-B737-492B-B244-5BDFD0659E66}" dt="2022-03-08T05:52:47.122" v="141"/>
            <ac:spMkLst>
              <pc:docMk/>
              <pc:sldMasterMk cId="286210591" sldId="2147483866"/>
              <pc:sldLayoutMk cId="2801534995" sldId="2147483896"/>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730439490" sldId="2147483897"/>
          </pc:sldLayoutMkLst>
          <pc:spChg chg="mod">
            <ac:chgData name="Atkar, Devyani Anil" userId="30060140-18fd-4dc5-aee4-f2420943b387" providerId="ADAL" clId="{B0DF8768-B737-492B-B244-5BDFD0659E66}" dt="2022-03-08T05:52:47.122" v="141"/>
            <ac:spMkLst>
              <pc:docMk/>
              <pc:sldMasterMk cId="286210591" sldId="2147483866"/>
              <pc:sldLayoutMk cId="730439490" sldId="2147483897"/>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58995232" sldId="2147483899"/>
          </pc:sldLayoutMkLst>
          <pc:spChg chg="mod">
            <ac:chgData name="Atkar, Devyani Anil" userId="30060140-18fd-4dc5-aee4-f2420943b387" providerId="ADAL" clId="{B0DF8768-B737-492B-B244-5BDFD0659E66}" dt="2022-03-08T05:52:47.122" v="141"/>
            <ac:spMkLst>
              <pc:docMk/>
              <pc:sldMasterMk cId="286210591" sldId="2147483866"/>
              <pc:sldLayoutMk cId="58995232" sldId="2147483899"/>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504431520" sldId="2147483900"/>
          </pc:sldLayoutMkLst>
          <pc:spChg chg="mod">
            <ac:chgData name="Atkar, Devyani Anil" userId="30060140-18fd-4dc5-aee4-f2420943b387" providerId="ADAL" clId="{B0DF8768-B737-492B-B244-5BDFD0659E66}" dt="2022-03-08T05:52:47.122" v="141"/>
            <ac:spMkLst>
              <pc:docMk/>
              <pc:sldMasterMk cId="286210591" sldId="2147483866"/>
              <pc:sldLayoutMk cId="2504431520" sldId="2147483900"/>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3971492467" sldId="2147483901"/>
          </pc:sldLayoutMkLst>
          <pc:spChg chg="mod">
            <ac:chgData name="Atkar, Devyani Anil" userId="30060140-18fd-4dc5-aee4-f2420943b387" providerId="ADAL" clId="{B0DF8768-B737-492B-B244-5BDFD0659E66}" dt="2022-03-08T05:52:47.122" v="141"/>
            <ac:spMkLst>
              <pc:docMk/>
              <pc:sldMasterMk cId="286210591" sldId="2147483866"/>
              <pc:sldLayoutMk cId="3971492467" sldId="2147483901"/>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3535306868" sldId="2147483902"/>
          </pc:sldLayoutMkLst>
          <pc:spChg chg="mod">
            <ac:chgData name="Atkar, Devyani Anil" userId="30060140-18fd-4dc5-aee4-f2420943b387" providerId="ADAL" clId="{B0DF8768-B737-492B-B244-5BDFD0659E66}" dt="2022-03-08T05:52:47.122" v="141"/>
            <ac:spMkLst>
              <pc:docMk/>
              <pc:sldMasterMk cId="286210591" sldId="2147483866"/>
              <pc:sldLayoutMk cId="3535306868" sldId="2147483902"/>
              <ac:spMk id="17" creationId="{4E053EF6-9449-43BD-9240-CDA4628A35F9}"/>
            </ac:spMkLst>
          </pc:spChg>
        </pc:sldLayoutChg>
        <pc:sldLayoutChg chg="modSp">
          <pc:chgData name="Atkar, Devyani Anil" userId="30060140-18fd-4dc5-aee4-f2420943b387" providerId="ADAL" clId="{B0DF8768-B737-492B-B244-5BDFD0659E66}" dt="2022-03-08T05:52:47.122" v="141"/>
          <pc:sldLayoutMkLst>
            <pc:docMk/>
            <pc:sldMasterMk cId="286210591" sldId="2147483866"/>
            <pc:sldLayoutMk cId="2962999961" sldId="2147483903"/>
          </pc:sldLayoutMkLst>
          <pc:spChg chg="mod">
            <ac:chgData name="Atkar, Devyani Anil" userId="30060140-18fd-4dc5-aee4-f2420943b387" providerId="ADAL" clId="{B0DF8768-B737-492B-B244-5BDFD0659E66}" dt="2022-03-08T05:52:47.122" v="141"/>
            <ac:spMkLst>
              <pc:docMk/>
              <pc:sldMasterMk cId="286210591" sldId="2147483866"/>
              <pc:sldLayoutMk cId="2962999961" sldId="2147483903"/>
              <ac:spMk id="17" creationId="{4E053EF6-9449-43BD-9240-CDA4628A35F9}"/>
            </ac:spMkLst>
          </pc:spChg>
        </pc:sldLayoutChg>
      </pc:sldMasterChg>
      <pc:sldMasterChg chg="modSp">
        <pc:chgData name="Atkar, Devyani Anil" userId="30060140-18fd-4dc5-aee4-f2420943b387" providerId="ADAL" clId="{B0DF8768-B737-492B-B244-5BDFD0659E66}" dt="2022-03-08T05:52:47.122" v="141"/>
        <pc:sldMasterMkLst>
          <pc:docMk/>
          <pc:sldMasterMk cId="99584796" sldId="2147483879"/>
        </pc:sldMasterMkLst>
        <pc:spChg chg="mod">
          <ac:chgData name="Atkar, Devyani Anil" userId="30060140-18fd-4dc5-aee4-f2420943b387" providerId="ADAL" clId="{B0DF8768-B737-492B-B244-5BDFD0659E66}" dt="2022-03-08T05:52:47.122" v="141"/>
          <ac:spMkLst>
            <pc:docMk/>
            <pc:sldMasterMk cId="99584796" sldId="2147483879"/>
            <ac:spMk id="25" creationId="{8DEAF7F0-ADBE-DA4B-80DE-727BD0E615AA}"/>
          </ac:spMkLst>
        </pc:spChg>
      </pc:sldMasterChg>
      <pc:sldMasterChg chg="modSldLayout">
        <pc:chgData name="Atkar, Devyani Anil" userId="30060140-18fd-4dc5-aee4-f2420943b387" providerId="ADAL" clId="{B0DF8768-B737-492B-B244-5BDFD0659E66}" dt="2022-03-08T05:52:47.122" v="141"/>
        <pc:sldMasterMkLst>
          <pc:docMk/>
          <pc:sldMasterMk cId="1343582804" sldId="2147483958"/>
        </pc:sldMasterMkLst>
        <pc:sldLayoutChg chg="modSp">
          <pc:chgData name="Atkar, Devyani Anil" userId="30060140-18fd-4dc5-aee4-f2420943b387" providerId="ADAL" clId="{B0DF8768-B737-492B-B244-5BDFD0659E66}" dt="2022-03-08T05:52:47.122" v="141"/>
          <pc:sldLayoutMkLst>
            <pc:docMk/>
            <pc:sldMasterMk cId="1343582804" sldId="2147483958"/>
            <pc:sldLayoutMk cId="2726037920" sldId="2147483970"/>
          </pc:sldLayoutMkLst>
          <pc:spChg chg="mod">
            <ac:chgData name="Atkar, Devyani Anil" userId="30060140-18fd-4dc5-aee4-f2420943b387" providerId="ADAL" clId="{B0DF8768-B737-492B-B244-5BDFD0659E66}" dt="2022-03-08T05:52:47.122" v="141"/>
            <ac:spMkLst>
              <pc:docMk/>
              <pc:sldMasterMk cId="1343582804" sldId="2147483958"/>
              <pc:sldLayoutMk cId="2726037920" sldId="2147483970"/>
              <ac:spMk id="17" creationId="{4E053EF6-9449-43BD-9240-CDA4628A35F9}"/>
            </ac:spMkLst>
          </pc:spChg>
        </pc:sldLayoutChg>
      </pc:sldMasterChg>
    </pc:docChg>
  </pc:docChgLst>
  <pc:docChgLst>
    <pc:chgData name="Wadeyar, Suma S." userId="0d55a013-674e-44a7-8930-d6ede6a2e000" providerId="ADAL" clId="{C2B98912-4357-43D0-817C-F90E9B67A5B6}"/>
    <pc:docChg chg="modSld">
      <pc:chgData name="Wadeyar, Suma S." userId="0d55a013-674e-44a7-8930-d6ede6a2e000" providerId="ADAL" clId="{C2B98912-4357-43D0-817C-F90E9B67A5B6}" dt="2023-11-09T08:06:23.780" v="3" actId="1076"/>
      <pc:docMkLst>
        <pc:docMk/>
      </pc:docMkLst>
      <pc:sldChg chg="modSp mod">
        <pc:chgData name="Wadeyar, Suma S." userId="0d55a013-674e-44a7-8930-d6ede6a2e000" providerId="ADAL" clId="{C2B98912-4357-43D0-817C-F90E9B67A5B6}" dt="2023-11-09T08:06:23.780" v="3" actId="1076"/>
        <pc:sldMkLst>
          <pc:docMk/>
          <pc:sldMk cId="4011072619" sldId="2146847328"/>
        </pc:sldMkLst>
        <pc:spChg chg="mod">
          <ac:chgData name="Wadeyar, Suma S." userId="0d55a013-674e-44a7-8930-d6ede6a2e000" providerId="ADAL" clId="{C2B98912-4357-43D0-817C-F90E9B67A5B6}" dt="2023-11-09T08:06:12.364" v="2" actId="6549"/>
          <ac:spMkLst>
            <pc:docMk/>
            <pc:sldMk cId="4011072619" sldId="2146847328"/>
            <ac:spMk id="12" creationId="{195791EC-B1FC-460A-9398-0B038A8825F0}"/>
          </ac:spMkLst>
        </pc:spChg>
        <pc:cxnChg chg="mod">
          <ac:chgData name="Wadeyar, Suma S." userId="0d55a013-674e-44a7-8930-d6ede6a2e000" providerId="ADAL" clId="{C2B98912-4357-43D0-817C-F90E9B67A5B6}" dt="2023-11-09T08:06:10.021" v="0" actId="1076"/>
          <ac:cxnSpMkLst>
            <pc:docMk/>
            <pc:sldMk cId="4011072619" sldId="2146847328"/>
            <ac:cxnSpMk id="17" creationId="{B7CFC56A-2BBC-476C-A5B4-DFE635FBDE6A}"/>
          </ac:cxnSpMkLst>
        </pc:cxnChg>
        <pc:cxnChg chg="mod">
          <ac:chgData name="Wadeyar, Suma S." userId="0d55a013-674e-44a7-8930-d6ede6a2e000" providerId="ADAL" clId="{C2B98912-4357-43D0-817C-F90E9B67A5B6}" dt="2023-11-09T08:06:23.780" v="3" actId="1076"/>
          <ac:cxnSpMkLst>
            <pc:docMk/>
            <pc:sldMk cId="4011072619" sldId="2146847328"/>
            <ac:cxnSpMk id="490" creationId="{9EE4DF0A-A9F1-45D6-B212-A15509D16E9D}"/>
          </ac:cxnSpMkLst>
        </pc:cxnChg>
      </pc:sldChg>
    </pc:docChg>
  </pc:docChgLst>
  <pc:docChgLst>
    <pc:chgData name="Nathwani, Shaalin" userId="179094a6-4abf-4d42-bdb4-87f1e9b4588c" providerId="ADAL" clId="{D04640F8-4F7A-4E50-99C1-B5D3F698F65A}"/>
    <pc:docChg chg="undo custSel modSld">
      <pc:chgData name="Nathwani, Shaalin" userId="179094a6-4abf-4d42-bdb4-87f1e9b4588c" providerId="ADAL" clId="{D04640F8-4F7A-4E50-99C1-B5D3F698F65A}" dt="2022-01-20T14:24:32.684" v="340" actId="20577"/>
      <pc:docMkLst>
        <pc:docMk/>
      </pc:docMkLst>
      <pc:sldChg chg="modSp mod">
        <pc:chgData name="Nathwani, Shaalin" userId="179094a6-4abf-4d42-bdb4-87f1e9b4588c" providerId="ADAL" clId="{D04640F8-4F7A-4E50-99C1-B5D3F698F65A}" dt="2022-01-20T14:24:32.684" v="340" actId="20577"/>
        <pc:sldMkLst>
          <pc:docMk/>
          <pc:sldMk cId="1760734549" sldId="2146847363"/>
        </pc:sldMkLst>
        <pc:graphicFrameChg chg="modGraphic">
          <ac:chgData name="Nathwani, Shaalin" userId="179094a6-4abf-4d42-bdb4-87f1e9b4588c" providerId="ADAL" clId="{D04640F8-4F7A-4E50-99C1-B5D3F698F65A}" dt="2022-01-20T14:24:32.684" v="340" actId="20577"/>
          <ac:graphicFrameMkLst>
            <pc:docMk/>
            <pc:sldMk cId="1760734549" sldId="2146847363"/>
            <ac:graphicFrameMk id="12" creationId="{18069194-4058-49E6-BA4C-7954C0646E61}"/>
          </ac:graphicFrameMkLst>
        </pc:graphicFrameChg>
      </pc:sldChg>
      <pc:sldChg chg="modSp mod">
        <pc:chgData name="Nathwani, Shaalin" userId="179094a6-4abf-4d42-bdb4-87f1e9b4588c" providerId="ADAL" clId="{D04640F8-4F7A-4E50-99C1-B5D3F698F65A}" dt="2022-01-20T14:23:57.102" v="334" actId="20577"/>
        <pc:sldMkLst>
          <pc:docMk/>
          <pc:sldMk cId="1883859609" sldId="2146847370"/>
        </pc:sldMkLst>
        <pc:graphicFrameChg chg="modGraphic">
          <ac:chgData name="Nathwani, Shaalin" userId="179094a6-4abf-4d42-bdb4-87f1e9b4588c" providerId="ADAL" clId="{D04640F8-4F7A-4E50-99C1-B5D3F698F65A}" dt="2022-01-20T14:23:57.102" v="334" actId="20577"/>
          <ac:graphicFrameMkLst>
            <pc:docMk/>
            <pc:sldMk cId="1883859609" sldId="2146847370"/>
            <ac:graphicFrameMk id="14" creationId="{F0423E4E-7FAD-4AB3-99B2-F24577B59D66}"/>
          </ac:graphicFrameMkLst>
        </pc:graphicFrameChg>
      </pc:sldChg>
      <pc:sldChg chg="modSp mod">
        <pc:chgData name="Nathwani, Shaalin" userId="179094a6-4abf-4d42-bdb4-87f1e9b4588c" providerId="ADAL" clId="{D04640F8-4F7A-4E50-99C1-B5D3F698F65A}" dt="2022-01-20T13:43:28.709" v="164" actId="20577"/>
        <pc:sldMkLst>
          <pc:docMk/>
          <pc:sldMk cId="3317846635" sldId="2146847377"/>
        </pc:sldMkLst>
        <pc:graphicFrameChg chg="modGraphic">
          <ac:chgData name="Nathwani, Shaalin" userId="179094a6-4abf-4d42-bdb4-87f1e9b4588c" providerId="ADAL" clId="{D04640F8-4F7A-4E50-99C1-B5D3F698F65A}" dt="2022-01-20T13:43:28.709" v="164" actId="20577"/>
          <ac:graphicFrameMkLst>
            <pc:docMk/>
            <pc:sldMk cId="3317846635" sldId="2146847377"/>
            <ac:graphicFrameMk id="15" creationId="{24FDDE7B-7BE6-4EFB-AEF1-669B0772DD9F}"/>
          </ac:graphicFrameMkLst>
        </pc:graphicFrameChg>
      </pc:sldChg>
    </pc:docChg>
  </pc:docChgLst>
  <pc:docChgLst>
    <pc:chgData name="Yadav, Ashvarya" userId="3430548f-4128-4c63-a4e9-0ac978b97e91" providerId="ADAL" clId="{542468FF-6B3B-41B8-8E15-A556316D2AC1}"/>
    <pc:docChg chg="undo custSel addSld delSld modSld sldOrd modSection">
      <pc:chgData name="Yadav, Ashvarya" userId="3430548f-4128-4c63-a4e9-0ac978b97e91" providerId="ADAL" clId="{542468FF-6B3B-41B8-8E15-A556316D2AC1}" dt="2021-07-21T13:56:59.530" v="814" actId="14838"/>
      <pc:docMkLst>
        <pc:docMk/>
      </pc:docMkLst>
      <pc:sldChg chg="addSp delSp modSp modTransition">
        <pc:chgData name="Yadav, Ashvarya" userId="3430548f-4128-4c63-a4e9-0ac978b97e91" providerId="ADAL" clId="{542468FF-6B3B-41B8-8E15-A556316D2AC1}" dt="2021-07-21T13:52:57.118" v="812"/>
        <pc:sldMkLst>
          <pc:docMk/>
          <pc:sldMk cId="1470359419" sldId="262"/>
        </pc:sldMkLst>
        <pc:spChg chg="add del mod">
          <ac:chgData name="Yadav, Ashvarya" userId="3430548f-4128-4c63-a4e9-0ac978b97e91" providerId="ADAL" clId="{542468FF-6B3B-41B8-8E15-A556316D2AC1}" dt="2021-07-21T13:52:44.124" v="810"/>
          <ac:spMkLst>
            <pc:docMk/>
            <pc:sldMk cId="1470359419" sldId="262"/>
            <ac:spMk id="168" creationId="{5C4F7797-4380-4E64-B1F2-D0EC6B6AA28E}"/>
          </ac:spMkLst>
        </pc:spChg>
        <pc:spChg chg="add del mod">
          <ac:chgData name="Yadav, Ashvarya" userId="3430548f-4128-4c63-a4e9-0ac978b97e91" providerId="ADAL" clId="{542468FF-6B3B-41B8-8E15-A556316D2AC1}" dt="2021-07-21T13:52:44.124" v="810"/>
          <ac:spMkLst>
            <pc:docMk/>
            <pc:sldMk cId="1470359419" sldId="262"/>
            <ac:spMk id="176" creationId="{0B7B22EE-C7F9-44D7-954D-A4AEF31C0E1A}"/>
          </ac:spMkLst>
        </pc:spChg>
        <pc:spChg chg="add del mod">
          <ac:chgData name="Yadav, Ashvarya" userId="3430548f-4128-4c63-a4e9-0ac978b97e91" providerId="ADAL" clId="{542468FF-6B3B-41B8-8E15-A556316D2AC1}" dt="2021-07-21T13:52:44.124" v="810"/>
          <ac:spMkLst>
            <pc:docMk/>
            <pc:sldMk cId="1470359419" sldId="262"/>
            <ac:spMk id="179" creationId="{F57CCF69-5BCC-4054-91A4-95B9EC102162}"/>
          </ac:spMkLst>
        </pc:spChg>
        <pc:spChg chg="add del mod">
          <ac:chgData name="Yadav, Ashvarya" userId="3430548f-4128-4c63-a4e9-0ac978b97e91" providerId="ADAL" clId="{542468FF-6B3B-41B8-8E15-A556316D2AC1}" dt="2021-07-21T13:52:44.124" v="810"/>
          <ac:spMkLst>
            <pc:docMk/>
            <pc:sldMk cId="1470359419" sldId="262"/>
            <ac:spMk id="180" creationId="{FF622733-E6AA-4468-8CFF-CBDDAE42261A}"/>
          </ac:spMkLst>
        </pc:spChg>
        <pc:spChg chg="add del mod">
          <ac:chgData name="Yadav, Ashvarya" userId="3430548f-4128-4c63-a4e9-0ac978b97e91" providerId="ADAL" clId="{542468FF-6B3B-41B8-8E15-A556316D2AC1}" dt="2021-07-21T13:52:44.124" v="810"/>
          <ac:spMkLst>
            <pc:docMk/>
            <pc:sldMk cId="1470359419" sldId="262"/>
            <ac:spMk id="181" creationId="{0E925859-8A56-418D-BAA2-CED8EDC70795}"/>
          </ac:spMkLst>
        </pc:spChg>
        <pc:spChg chg="add del mod">
          <ac:chgData name="Yadav, Ashvarya" userId="3430548f-4128-4c63-a4e9-0ac978b97e91" providerId="ADAL" clId="{542468FF-6B3B-41B8-8E15-A556316D2AC1}" dt="2021-07-21T13:52:44.124" v="810"/>
          <ac:spMkLst>
            <pc:docMk/>
            <pc:sldMk cId="1470359419" sldId="262"/>
            <ac:spMk id="189" creationId="{E885B60C-5B26-4BEA-8A3D-13FF76712663}"/>
          </ac:spMkLst>
        </pc:spChg>
        <pc:spChg chg="add del mod">
          <ac:chgData name="Yadav, Ashvarya" userId="3430548f-4128-4c63-a4e9-0ac978b97e91" providerId="ADAL" clId="{542468FF-6B3B-41B8-8E15-A556316D2AC1}" dt="2021-07-21T13:52:44.124" v="810"/>
          <ac:spMkLst>
            <pc:docMk/>
            <pc:sldMk cId="1470359419" sldId="262"/>
            <ac:spMk id="190" creationId="{0218DA55-96D0-4FE4-895C-8E6000386764}"/>
          </ac:spMkLst>
        </pc:spChg>
        <pc:spChg chg="add del mod">
          <ac:chgData name="Yadav, Ashvarya" userId="3430548f-4128-4c63-a4e9-0ac978b97e91" providerId="ADAL" clId="{542468FF-6B3B-41B8-8E15-A556316D2AC1}" dt="2021-07-21T13:52:44.124" v="810"/>
          <ac:spMkLst>
            <pc:docMk/>
            <pc:sldMk cId="1470359419" sldId="262"/>
            <ac:spMk id="191" creationId="{FAF8211A-852D-410D-ABD7-CB1F1A114B50}"/>
          </ac:spMkLst>
        </pc:spChg>
        <pc:spChg chg="add del mod">
          <ac:chgData name="Yadav, Ashvarya" userId="3430548f-4128-4c63-a4e9-0ac978b97e91" providerId="ADAL" clId="{542468FF-6B3B-41B8-8E15-A556316D2AC1}" dt="2021-07-21T13:52:44.124" v="810"/>
          <ac:spMkLst>
            <pc:docMk/>
            <pc:sldMk cId="1470359419" sldId="262"/>
            <ac:spMk id="192" creationId="{8D3D47EE-E56A-4035-BAC0-481031157CF8}"/>
          </ac:spMkLst>
        </pc:spChg>
        <pc:spChg chg="add del mod">
          <ac:chgData name="Yadav, Ashvarya" userId="3430548f-4128-4c63-a4e9-0ac978b97e91" providerId="ADAL" clId="{542468FF-6B3B-41B8-8E15-A556316D2AC1}" dt="2021-07-21T13:52:44.124" v="810"/>
          <ac:spMkLst>
            <pc:docMk/>
            <pc:sldMk cId="1470359419" sldId="262"/>
            <ac:spMk id="193" creationId="{EF0EB025-FB57-4CC8-96D2-C23B6F933B83}"/>
          </ac:spMkLst>
        </pc:spChg>
        <pc:spChg chg="add del mod">
          <ac:chgData name="Yadav, Ashvarya" userId="3430548f-4128-4c63-a4e9-0ac978b97e91" providerId="ADAL" clId="{542468FF-6B3B-41B8-8E15-A556316D2AC1}" dt="2021-07-21T13:52:44.124" v="810"/>
          <ac:spMkLst>
            <pc:docMk/>
            <pc:sldMk cId="1470359419" sldId="262"/>
            <ac:spMk id="194" creationId="{8592CA88-0995-4AE3-A53B-1C15B4230621}"/>
          </ac:spMkLst>
        </pc:spChg>
        <pc:spChg chg="add del mod">
          <ac:chgData name="Yadav, Ashvarya" userId="3430548f-4128-4c63-a4e9-0ac978b97e91" providerId="ADAL" clId="{542468FF-6B3B-41B8-8E15-A556316D2AC1}" dt="2021-07-21T13:52:44.124" v="810"/>
          <ac:spMkLst>
            <pc:docMk/>
            <pc:sldMk cId="1470359419" sldId="262"/>
            <ac:spMk id="195" creationId="{201E24E6-9E38-4DE7-9394-491FA0C13FEE}"/>
          </ac:spMkLst>
        </pc:spChg>
        <pc:spChg chg="add del mod">
          <ac:chgData name="Yadav, Ashvarya" userId="3430548f-4128-4c63-a4e9-0ac978b97e91" providerId="ADAL" clId="{542468FF-6B3B-41B8-8E15-A556316D2AC1}" dt="2021-07-21T13:52:44.124" v="810"/>
          <ac:spMkLst>
            <pc:docMk/>
            <pc:sldMk cId="1470359419" sldId="262"/>
            <ac:spMk id="206" creationId="{40FB6DA5-3BE3-43E7-B910-4F91860604F2}"/>
          </ac:spMkLst>
        </pc:spChg>
        <pc:spChg chg="add del mod">
          <ac:chgData name="Yadav, Ashvarya" userId="3430548f-4128-4c63-a4e9-0ac978b97e91" providerId="ADAL" clId="{542468FF-6B3B-41B8-8E15-A556316D2AC1}" dt="2021-07-21T13:52:44.124" v="810"/>
          <ac:spMkLst>
            <pc:docMk/>
            <pc:sldMk cId="1470359419" sldId="262"/>
            <ac:spMk id="219" creationId="{081D15CB-1465-431B-B88C-9E050CA661EB}"/>
          </ac:spMkLst>
        </pc:spChg>
        <pc:spChg chg="add del mod">
          <ac:chgData name="Yadav, Ashvarya" userId="3430548f-4128-4c63-a4e9-0ac978b97e91" providerId="ADAL" clId="{542468FF-6B3B-41B8-8E15-A556316D2AC1}" dt="2021-07-21T13:52:44.124" v="810"/>
          <ac:spMkLst>
            <pc:docMk/>
            <pc:sldMk cId="1470359419" sldId="262"/>
            <ac:spMk id="228" creationId="{5E68DA10-E9F9-4C4E-BB2F-2F0A95F69051}"/>
          </ac:spMkLst>
        </pc:spChg>
      </pc:sldChg>
      <pc:sldChg chg="addSp modSp add mod">
        <pc:chgData name="Yadav, Ashvarya" userId="3430548f-4128-4c63-a4e9-0ac978b97e91" providerId="ADAL" clId="{542468FF-6B3B-41B8-8E15-A556316D2AC1}" dt="2021-07-21T13:56:59.530" v="814" actId="14838"/>
        <pc:sldMkLst>
          <pc:docMk/>
          <pc:sldMk cId="4007233622" sldId="264"/>
        </pc:sldMkLst>
        <pc:spChg chg="add mod">
          <ac:chgData name="Yadav, Ashvarya" userId="3430548f-4128-4c63-a4e9-0ac978b97e91" providerId="ADAL" clId="{542468FF-6B3B-41B8-8E15-A556316D2AC1}" dt="2021-07-21T13:56:59.530" v="814" actId="14838"/>
          <ac:spMkLst>
            <pc:docMk/>
            <pc:sldMk cId="4007233622" sldId="264"/>
            <ac:spMk id="260" creationId="{CA339CF1-1317-4794-AAF9-3FB5E0A17987}"/>
          </ac:spMkLst>
        </pc:spChg>
      </pc:sldChg>
      <pc:sldChg chg="delSp del mod">
        <pc:chgData name="Yadav, Ashvarya" userId="3430548f-4128-4c63-a4e9-0ac978b97e91" providerId="ADAL" clId="{542468FF-6B3B-41B8-8E15-A556316D2AC1}" dt="2021-07-21T10:32:34.023" v="80" actId="47"/>
        <pc:sldMkLst>
          <pc:docMk/>
          <pc:sldMk cId="3340449161" sldId="5180"/>
        </pc:sldMkLst>
        <pc:graphicFrameChg chg="del">
          <ac:chgData name="Yadav, Ashvarya" userId="3430548f-4128-4c63-a4e9-0ac978b97e91" providerId="ADAL" clId="{542468FF-6B3B-41B8-8E15-A556316D2AC1}" dt="2021-07-21T10:32:19.630" v="41" actId="21"/>
          <ac:graphicFrameMkLst>
            <pc:docMk/>
            <pc:sldMk cId="3340449161" sldId="5180"/>
            <ac:graphicFrameMk id="7" creationId="{B4FCA0E6-A61B-4F11-B829-B9D15136B06B}"/>
          </ac:graphicFrameMkLst>
        </pc:graphicFrameChg>
      </pc:sldChg>
      <pc:sldChg chg="addSp modSp mod ord">
        <pc:chgData name="Yadav, Ashvarya" userId="3430548f-4128-4c63-a4e9-0ac978b97e91" providerId="ADAL" clId="{542468FF-6B3B-41B8-8E15-A556316D2AC1}" dt="2021-07-21T10:34:49.257" v="133"/>
        <pc:sldMkLst>
          <pc:docMk/>
          <pc:sldMk cId="3265992714" sldId="2146847331"/>
        </pc:sldMkLst>
        <pc:spChg chg="mod">
          <ac:chgData name="Yadav, Ashvarya" userId="3430548f-4128-4c63-a4e9-0ac978b97e91" providerId="ADAL" clId="{542468FF-6B3B-41B8-8E15-A556316D2AC1}" dt="2021-07-21T10:32:45.893" v="82" actId="1076"/>
          <ac:spMkLst>
            <pc:docMk/>
            <pc:sldMk cId="3265992714" sldId="2146847331"/>
            <ac:spMk id="10" creationId="{5F5A2F49-F7AA-4113-B622-5BDFA72EC8A9}"/>
          </ac:spMkLst>
        </pc:spChg>
        <pc:spChg chg="mod">
          <ac:chgData name="Yadav, Ashvarya" userId="3430548f-4128-4c63-a4e9-0ac978b97e91" providerId="ADAL" clId="{542468FF-6B3B-41B8-8E15-A556316D2AC1}" dt="2021-07-21T10:32:45.893" v="82" actId="1076"/>
          <ac:spMkLst>
            <pc:docMk/>
            <pc:sldMk cId="3265992714" sldId="2146847331"/>
            <ac:spMk id="11" creationId="{F62FD1AA-A335-42F9-A76C-7BE47DCBB554}"/>
          </ac:spMkLst>
        </pc:spChg>
        <pc:spChg chg="mod">
          <ac:chgData name="Yadav, Ashvarya" userId="3430548f-4128-4c63-a4e9-0ac978b97e91" providerId="ADAL" clId="{542468FF-6B3B-41B8-8E15-A556316D2AC1}" dt="2021-07-21T10:32:45.893" v="82" actId="1076"/>
          <ac:spMkLst>
            <pc:docMk/>
            <pc:sldMk cId="3265992714" sldId="2146847331"/>
            <ac:spMk id="13" creationId="{8A021D00-5B1A-4161-A520-9B95ED75043E}"/>
          </ac:spMkLst>
        </pc:spChg>
        <pc:spChg chg="mod">
          <ac:chgData name="Yadav, Ashvarya" userId="3430548f-4128-4c63-a4e9-0ac978b97e91" providerId="ADAL" clId="{542468FF-6B3B-41B8-8E15-A556316D2AC1}" dt="2021-07-21T10:32:45.893" v="82" actId="1076"/>
          <ac:spMkLst>
            <pc:docMk/>
            <pc:sldMk cId="3265992714" sldId="2146847331"/>
            <ac:spMk id="14" creationId="{6DC80A2F-AFF9-4537-814F-EBC4E0D486D2}"/>
          </ac:spMkLst>
        </pc:spChg>
        <pc:graphicFrameChg chg="add mod modGraphic">
          <ac:chgData name="Yadav, Ashvarya" userId="3430548f-4128-4c63-a4e9-0ac978b97e91" providerId="ADAL" clId="{542468FF-6B3B-41B8-8E15-A556316D2AC1}" dt="2021-07-21T10:34:06.407" v="130" actId="14100"/>
          <ac:graphicFrameMkLst>
            <pc:docMk/>
            <pc:sldMk cId="3265992714" sldId="2146847331"/>
            <ac:graphicFrameMk id="15" creationId="{8DB78C19-B328-4813-88DC-1FE830CC86A7}"/>
          </ac:graphicFrameMkLst>
        </pc:graphicFrameChg>
      </pc:sldChg>
      <pc:sldChg chg="delSp del mod">
        <pc:chgData name="Yadav, Ashvarya" userId="3430548f-4128-4c63-a4e9-0ac978b97e91" providerId="ADAL" clId="{542468FF-6B3B-41B8-8E15-A556316D2AC1}" dt="2021-07-21T10:34:44.549" v="131" actId="47"/>
        <pc:sldMkLst>
          <pc:docMk/>
          <pc:sldMk cId="1105934856" sldId="2146847332"/>
        </pc:sldMkLst>
        <pc:graphicFrameChg chg="del">
          <ac:chgData name="Yadav, Ashvarya" userId="3430548f-4128-4c63-a4e9-0ac978b97e91" providerId="ADAL" clId="{542468FF-6B3B-41B8-8E15-A556316D2AC1}" dt="2021-07-21T10:33:32.542" v="83" actId="21"/>
          <ac:graphicFrameMkLst>
            <pc:docMk/>
            <pc:sldMk cId="1105934856" sldId="2146847332"/>
            <ac:graphicFrameMk id="7" creationId="{B4FCA0E6-A61B-4F11-B829-B9D15136B06B}"/>
          </ac:graphicFrameMkLst>
        </pc:graphicFrameChg>
      </pc:sldChg>
      <pc:sldChg chg="addSp modSp mod">
        <pc:chgData name="Yadav, Ashvarya" userId="3430548f-4128-4c63-a4e9-0ac978b97e91" providerId="ADAL" clId="{542468FF-6B3B-41B8-8E15-A556316D2AC1}" dt="2021-07-21T10:35:38.503" v="167" actId="1036"/>
        <pc:sldMkLst>
          <pc:docMk/>
          <pc:sldMk cId="3621569684" sldId="2146847333"/>
        </pc:sldMkLst>
        <pc:graphicFrameChg chg="add mod">
          <ac:chgData name="Yadav, Ashvarya" userId="3430548f-4128-4c63-a4e9-0ac978b97e91" providerId="ADAL" clId="{542468FF-6B3B-41B8-8E15-A556316D2AC1}" dt="2021-07-21T10:35:38.503" v="167" actId="1036"/>
          <ac:graphicFrameMkLst>
            <pc:docMk/>
            <pc:sldMk cId="3621569684" sldId="2146847333"/>
            <ac:graphicFrameMk id="14" creationId="{AD7A0C98-6021-4230-AD8A-E33D8B85EB76}"/>
          </ac:graphicFrameMkLst>
        </pc:graphicFrameChg>
      </pc:sldChg>
      <pc:sldChg chg="delSp del mod">
        <pc:chgData name="Yadav, Ashvarya" userId="3430548f-4128-4c63-a4e9-0ac978b97e91" providerId="ADAL" clId="{542468FF-6B3B-41B8-8E15-A556316D2AC1}" dt="2021-07-21T10:35:47.888" v="168" actId="47"/>
        <pc:sldMkLst>
          <pc:docMk/>
          <pc:sldMk cId="1972486889" sldId="2146847334"/>
        </pc:sldMkLst>
        <pc:graphicFrameChg chg="del">
          <ac:chgData name="Yadav, Ashvarya" userId="3430548f-4128-4c63-a4e9-0ac978b97e91" providerId="ADAL" clId="{542468FF-6B3B-41B8-8E15-A556316D2AC1}" dt="2021-07-21T10:35:29.895" v="134" actId="21"/>
          <ac:graphicFrameMkLst>
            <pc:docMk/>
            <pc:sldMk cId="1972486889" sldId="2146847334"/>
            <ac:graphicFrameMk id="7" creationId="{B4FCA0E6-A61B-4F11-B829-B9D15136B06B}"/>
          </ac:graphicFrameMkLst>
        </pc:graphicFrameChg>
      </pc:sldChg>
      <pc:sldChg chg="addSp modSp mod">
        <pc:chgData name="Yadav, Ashvarya" userId="3430548f-4128-4c63-a4e9-0ac978b97e91" providerId="ADAL" clId="{542468FF-6B3B-41B8-8E15-A556316D2AC1}" dt="2021-07-21T10:36:59.146" v="211" actId="1036"/>
        <pc:sldMkLst>
          <pc:docMk/>
          <pc:sldMk cId="1041264545" sldId="2146847335"/>
        </pc:sldMkLst>
        <pc:spChg chg="mod">
          <ac:chgData name="Yadav, Ashvarya" userId="3430548f-4128-4c63-a4e9-0ac978b97e91" providerId="ADAL" clId="{542468FF-6B3B-41B8-8E15-A556316D2AC1}" dt="2021-07-21T10:36:11.933" v="173" actId="14100"/>
          <ac:spMkLst>
            <pc:docMk/>
            <pc:sldMk cId="1041264545" sldId="2146847335"/>
            <ac:spMk id="15" creationId="{9BA7662A-ED3C-4846-B55A-20BAEE179AAF}"/>
          </ac:spMkLst>
        </pc:spChg>
        <pc:spChg chg="mod">
          <ac:chgData name="Yadav, Ashvarya" userId="3430548f-4128-4c63-a4e9-0ac978b97e91" providerId="ADAL" clId="{542468FF-6B3B-41B8-8E15-A556316D2AC1}" dt="2021-07-21T10:36:06.195" v="172" actId="1038"/>
          <ac:spMkLst>
            <pc:docMk/>
            <pc:sldMk cId="1041264545" sldId="2146847335"/>
            <ac:spMk id="16" creationId="{40D3C9F6-C0ED-496B-B1FF-5D17D2552004}"/>
          </ac:spMkLst>
        </pc:spChg>
        <pc:spChg chg="mod">
          <ac:chgData name="Yadav, Ashvarya" userId="3430548f-4128-4c63-a4e9-0ac978b97e91" providerId="ADAL" clId="{542468FF-6B3B-41B8-8E15-A556316D2AC1}" dt="2021-07-21T10:36:45.639" v="178" actId="6549"/>
          <ac:spMkLst>
            <pc:docMk/>
            <pc:sldMk cId="1041264545" sldId="2146847335"/>
            <ac:spMk id="17" creationId="{B4E50F99-DE73-432E-A422-2AAF4103EB2B}"/>
          </ac:spMkLst>
        </pc:spChg>
        <pc:spChg chg="mod">
          <ac:chgData name="Yadav, Ashvarya" userId="3430548f-4128-4c63-a4e9-0ac978b97e91" providerId="ADAL" clId="{542468FF-6B3B-41B8-8E15-A556316D2AC1}" dt="2021-07-21T10:36:06.195" v="172" actId="1038"/>
          <ac:spMkLst>
            <pc:docMk/>
            <pc:sldMk cId="1041264545" sldId="2146847335"/>
            <ac:spMk id="18" creationId="{AA9DC388-00DD-41FC-9373-863A054C02B2}"/>
          </ac:spMkLst>
        </pc:spChg>
        <pc:spChg chg="mod">
          <ac:chgData name="Yadav, Ashvarya" userId="3430548f-4128-4c63-a4e9-0ac978b97e91" providerId="ADAL" clId="{542468FF-6B3B-41B8-8E15-A556316D2AC1}" dt="2021-07-21T10:36:06.195" v="172" actId="1038"/>
          <ac:spMkLst>
            <pc:docMk/>
            <pc:sldMk cId="1041264545" sldId="2146847335"/>
            <ac:spMk id="19" creationId="{0F1AEFEB-BF09-4D7E-85A1-67AE70D275C9}"/>
          </ac:spMkLst>
        </pc:spChg>
        <pc:spChg chg="mod">
          <ac:chgData name="Yadav, Ashvarya" userId="3430548f-4128-4c63-a4e9-0ac978b97e91" providerId="ADAL" clId="{542468FF-6B3B-41B8-8E15-A556316D2AC1}" dt="2021-07-21T10:36:06.195" v="172" actId="1038"/>
          <ac:spMkLst>
            <pc:docMk/>
            <pc:sldMk cId="1041264545" sldId="2146847335"/>
            <ac:spMk id="20" creationId="{83C2B707-BA81-4260-9838-00838F9CD080}"/>
          </ac:spMkLst>
        </pc:spChg>
        <pc:spChg chg="mod">
          <ac:chgData name="Yadav, Ashvarya" userId="3430548f-4128-4c63-a4e9-0ac978b97e91" providerId="ADAL" clId="{542468FF-6B3B-41B8-8E15-A556316D2AC1}" dt="2021-07-21T10:36:06.195" v="172" actId="1038"/>
          <ac:spMkLst>
            <pc:docMk/>
            <pc:sldMk cId="1041264545" sldId="2146847335"/>
            <ac:spMk id="21" creationId="{D9265C61-49B1-41C9-9538-583F535F1E09}"/>
          </ac:spMkLst>
        </pc:spChg>
        <pc:spChg chg="mod">
          <ac:chgData name="Yadav, Ashvarya" userId="3430548f-4128-4c63-a4e9-0ac978b97e91" providerId="ADAL" clId="{542468FF-6B3B-41B8-8E15-A556316D2AC1}" dt="2021-07-21T10:36:06.195" v="172" actId="1038"/>
          <ac:spMkLst>
            <pc:docMk/>
            <pc:sldMk cId="1041264545" sldId="2146847335"/>
            <ac:spMk id="22" creationId="{251968AD-06DC-45CE-B866-270C31FD5CA8}"/>
          </ac:spMkLst>
        </pc:spChg>
        <pc:graphicFrameChg chg="add mod">
          <ac:chgData name="Yadav, Ashvarya" userId="3430548f-4128-4c63-a4e9-0ac978b97e91" providerId="ADAL" clId="{542468FF-6B3B-41B8-8E15-A556316D2AC1}" dt="2021-07-21T10:36:59.146" v="211" actId="1036"/>
          <ac:graphicFrameMkLst>
            <pc:docMk/>
            <pc:sldMk cId="1041264545" sldId="2146847335"/>
            <ac:graphicFrameMk id="13" creationId="{2A77ABE0-8CB7-4A8B-924F-4EA0C83CE8D2}"/>
          </ac:graphicFrameMkLst>
        </pc:graphicFrameChg>
      </pc:sldChg>
      <pc:sldChg chg="delSp del mod">
        <pc:chgData name="Yadav, Ashvarya" userId="3430548f-4128-4c63-a4e9-0ac978b97e91" providerId="ADAL" clId="{542468FF-6B3B-41B8-8E15-A556316D2AC1}" dt="2021-07-21T10:37:41.950" v="212" actId="47"/>
        <pc:sldMkLst>
          <pc:docMk/>
          <pc:sldMk cId="580882348" sldId="2146847336"/>
        </pc:sldMkLst>
        <pc:graphicFrameChg chg="del">
          <ac:chgData name="Yadav, Ashvarya" userId="3430548f-4128-4c63-a4e9-0ac978b97e91" providerId="ADAL" clId="{542468FF-6B3B-41B8-8E15-A556316D2AC1}" dt="2021-07-21T10:36:54.760" v="179" actId="21"/>
          <ac:graphicFrameMkLst>
            <pc:docMk/>
            <pc:sldMk cId="580882348" sldId="2146847336"/>
            <ac:graphicFrameMk id="7" creationId="{B4FCA0E6-A61B-4F11-B829-B9D15136B06B}"/>
          </ac:graphicFrameMkLst>
        </pc:graphicFrameChg>
      </pc:sldChg>
      <pc:sldChg chg="addSp modSp mod">
        <pc:chgData name="Yadav, Ashvarya" userId="3430548f-4128-4c63-a4e9-0ac978b97e91" providerId="ADAL" clId="{542468FF-6B3B-41B8-8E15-A556316D2AC1}" dt="2021-07-21T10:39:39.982" v="256" actId="1036"/>
        <pc:sldMkLst>
          <pc:docMk/>
          <pc:sldMk cId="1504727752" sldId="2146847337"/>
        </pc:sldMkLst>
        <pc:spChg chg="mod">
          <ac:chgData name="Yadav, Ashvarya" userId="3430548f-4128-4c63-a4e9-0ac978b97e91" providerId="ADAL" clId="{542468FF-6B3B-41B8-8E15-A556316D2AC1}" dt="2021-07-21T10:37:50.779" v="213" actId="14100"/>
          <ac:spMkLst>
            <pc:docMk/>
            <pc:sldMk cId="1504727752" sldId="2146847337"/>
            <ac:spMk id="13" creationId="{4F7F3076-023B-4C62-ADB5-F5599D8057DD}"/>
          </ac:spMkLst>
        </pc:spChg>
        <pc:spChg chg="mod">
          <ac:chgData name="Yadav, Ashvarya" userId="3430548f-4128-4c63-a4e9-0ac978b97e91" providerId="ADAL" clId="{542468FF-6B3B-41B8-8E15-A556316D2AC1}" dt="2021-07-21T10:37:57.705" v="218" actId="1038"/>
          <ac:spMkLst>
            <pc:docMk/>
            <pc:sldMk cId="1504727752" sldId="2146847337"/>
            <ac:spMk id="14" creationId="{433100BE-7F0F-4AD9-A7F2-1425F6E399FF}"/>
          </ac:spMkLst>
        </pc:spChg>
        <pc:spChg chg="mod">
          <ac:chgData name="Yadav, Ashvarya" userId="3430548f-4128-4c63-a4e9-0ac978b97e91" providerId="ADAL" clId="{542468FF-6B3B-41B8-8E15-A556316D2AC1}" dt="2021-07-21T10:37:57.705" v="218" actId="1038"/>
          <ac:spMkLst>
            <pc:docMk/>
            <pc:sldMk cId="1504727752" sldId="2146847337"/>
            <ac:spMk id="23" creationId="{EFB753BF-4175-4365-BD71-975D8D7F6A82}"/>
          </ac:spMkLst>
        </pc:spChg>
        <pc:spChg chg="mod">
          <ac:chgData name="Yadav, Ashvarya" userId="3430548f-4128-4c63-a4e9-0ac978b97e91" providerId="ADAL" clId="{542468FF-6B3B-41B8-8E15-A556316D2AC1}" dt="2021-07-21T10:37:57.705" v="218" actId="1038"/>
          <ac:spMkLst>
            <pc:docMk/>
            <pc:sldMk cId="1504727752" sldId="2146847337"/>
            <ac:spMk id="24" creationId="{6074186B-06B8-4996-AE97-9AFE04B8E4FC}"/>
          </ac:spMkLst>
        </pc:spChg>
        <pc:spChg chg="mod">
          <ac:chgData name="Yadav, Ashvarya" userId="3430548f-4128-4c63-a4e9-0ac978b97e91" providerId="ADAL" clId="{542468FF-6B3B-41B8-8E15-A556316D2AC1}" dt="2021-07-21T10:37:57.705" v="218" actId="1038"/>
          <ac:spMkLst>
            <pc:docMk/>
            <pc:sldMk cId="1504727752" sldId="2146847337"/>
            <ac:spMk id="25" creationId="{7D1D2A8F-347C-4B84-9A78-09C6EDA2C1DD}"/>
          </ac:spMkLst>
        </pc:spChg>
        <pc:spChg chg="mod">
          <ac:chgData name="Yadav, Ashvarya" userId="3430548f-4128-4c63-a4e9-0ac978b97e91" providerId="ADAL" clId="{542468FF-6B3B-41B8-8E15-A556316D2AC1}" dt="2021-07-21T10:37:57.705" v="218" actId="1038"/>
          <ac:spMkLst>
            <pc:docMk/>
            <pc:sldMk cId="1504727752" sldId="2146847337"/>
            <ac:spMk id="26" creationId="{AFDD9760-C52F-4896-BCC4-5A2DB02795B6}"/>
          </ac:spMkLst>
        </pc:spChg>
        <pc:spChg chg="mod">
          <ac:chgData name="Yadav, Ashvarya" userId="3430548f-4128-4c63-a4e9-0ac978b97e91" providerId="ADAL" clId="{542468FF-6B3B-41B8-8E15-A556316D2AC1}" dt="2021-07-21T10:37:57.705" v="218" actId="1038"/>
          <ac:spMkLst>
            <pc:docMk/>
            <pc:sldMk cId="1504727752" sldId="2146847337"/>
            <ac:spMk id="27" creationId="{C158F0A2-0226-40C7-BF71-A1AA86B1B55A}"/>
          </ac:spMkLst>
        </pc:spChg>
        <pc:spChg chg="mod">
          <ac:chgData name="Yadav, Ashvarya" userId="3430548f-4128-4c63-a4e9-0ac978b97e91" providerId="ADAL" clId="{542468FF-6B3B-41B8-8E15-A556316D2AC1}" dt="2021-07-21T10:37:57.705" v="218" actId="1038"/>
          <ac:spMkLst>
            <pc:docMk/>
            <pc:sldMk cId="1504727752" sldId="2146847337"/>
            <ac:spMk id="28" creationId="{D1300590-62E4-44CD-8898-644313E6A29E}"/>
          </ac:spMkLst>
        </pc:spChg>
        <pc:spChg chg="mod">
          <ac:chgData name="Yadav, Ashvarya" userId="3430548f-4128-4c63-a4e9-0ac978b97e91" providerId="ADAL" clId="{542468FF-6B3B-41B8-8E15-A556316D2AC1}" dt="2021-07-21T10:37:57.705" v="218" actId="1038"/>
          <ac:spMkLst>
            <pc:docMk/>
            <pc:sldMk cId="1504727752" sldId="2146847337"/>
            <ac:spMk id="29" creationId="{0BD5AADD-3FCB-437F-A814-5E9313F1EA7C}"/>
          </ac:spMkLst>
        </pc:spChg>
        <pc:graphicFrameChg chg="add mod">
          <ac:chgData name="Yadav, Ashvarya" userId="3430548f-4128-4c63-a4e9-0ac978b97e91" providerId="ADAL" clId="{542468FF-6B3B-41B8-8E15-A556316D2AC1}" dt="2021-07-21T10:39:39.982" v="256" actId="1036"/>
          <ac:graphicFrameMkLst>
            <pc:docMk/>
            <pc:sldMk cId="1504727752" sldId="2146847337"/>
            <ac:graphicFrameMk id="15" creationId="{63A32016-342D-445A-A911-3FEAE72270D1}"/>
          </ac:graphicFrameMkLst>
        </pc:graphicFrameChg>
      </pc:sldChg>
      <pc:sldChg chg="delSp del mod">
        <pc:chgData name="Yadav, Ashvarya" userId="3430548f-4128-4c63-a4e9-0ac978b97e91" providerId="ADAL" clId="{542468FF-6B3B-41B8-8E15-A556316D2AC1}" dt="2021-07-21T10:39:47.864" v="257" actId="47"/>
        <pc:sldMkLst>
          <pc:docMk/>
          <pc:sldMk cId="2839370909" sldId="2146847338"/>
        </pc:sldMkLst>
        <pc:graphicFrameChg chg="del">
          <ac:chgData name="Yadav, Ashvarya" userId="3430548f-4128-4c63-a4e9-0ac978b97e91" providerId="ADAL" clId="{542468FF-6B3B-41B8-8E15-A556316D2AC1}" dt="2021-07-21T10:39:33.769" v="219" actId="21"/>
          <ac:graphicFrameMkLst>
            <pc:docMk/>
            <pc:sldMk cId="2839370909" sldId="2146847338"/>
            <ac:graphicFrameMk id="7" creationId="{B4FCA0E6-A61B-4F11-B829-B9D15136B06B}"/>
          </ac:graphicFrameMkLst>
        </pc:graphicFrameChg>
      </pc:sldChg>
      <pc:sldChg chg="addSp modSp mod">
        <pc:chgData name="Yadav, Ashvarya" userId="3430548f-4128-4c63-a4e9-0ac978b97e91" providerId="ADAL" clId="{542468FF-6B3B-41B8-8E15-A556316D2AC1}" dt="2021-07-21T10:40:17.483" v="290" actId="1036"/>
        <pc:sldMkLst>
          <pc:docMk/>
          <pc:sldMk cId="2802152787" sldId="2146847339"/>
        </pc:sldMkLst>
        <pc:graphicFrameChg chg="add mod">
          <ac:chgData name="Yadav, Ashvarya" userId="3430548f-4128-4c63-a4e9-0ac978b97e91" providerId="ADAL" clId="{542468FF-6B3B-41B8-8E15-A556316D2AC1}" dt="2021-07-21T10:40:17.483" v="290" actId="1036"/>
          <ac:graphicFrameMkLst>
            <pc:docMk/>
            <pc:sldMk cId="2802152787" sldId="2146847339"/>
            <ac:graphicFrameMk id="12" creationId="{83A58D52-622F-4E68-8746-879F124C09AF}"/>
          </ac:graphicFrameMkLst>
        </pc:graphicFrameChg>
      </pc:sldChg>
      <pc:sldChg chg="delSp del mod">
        <pc:chgData name="Yadav, Ashvarya" userId="3430548f-4128-4c63-a4e9-0ac978b97e91" providerId="ADAL" clId="{542468FF-6B3B-41B8-8E15-A556316D2AC1}" dt="2021-07-21T10:40:31.629" v="291" actId="47"/>
        <pc:sldMkLst>
          <pc:docMk/>
          <pc:sldMk cId="1017289790" sldId="2146847340"/>
        </pc:sldMkLst>
        <pc:graphicFrameChg chg="del">
          <ac:chgData name="Yadav, Ashvarya" userId="3430548f-4128-4c63-a4e9-0ac978b97e91" providerId="ADAL" clId="{542468FF-6B3B-41B8-8E15-A556316D2AC1}" dt="2021-07-21T10:40:10.563" v="258" actId="21"/>
          <ac:graphicFrameMkLst>
            <pc:docMk/>
            <pc:sldMk cId="1017289790" sldId="2146847340"/>
            <ac:graphicFrameMk id="7" creationId="{B4FCA0E6-A61B-4F11-B829-B9D15136B06B}"/>
          </ac:graphicFrameMkLst>
        </pc:graphicFrameChg>
      </pc:sldChg>
      <pc:sldChg chg="addSp modSp mod">
        <pc:chgData name="Yadav, Ashvarya" userId="3430548f-4128-4c63-a4e9-0ac978b97e91" providerId="ADAL" clId="{542468FF-6B3B-41B8-8E15-A556316D2AC1}" dt="2021-07-21T10:41:25.118" v="338" actId="1035"/>
        <pc:sldMkLst>
          <pc:docMk/>
          <pc:sldMk cId="3626882665" sldId="2146847341"/>
        </pc:sldMkLst>
        <pc:spChg chg="mod">
          <ac:chgData name="Yadav, Ashvarya" userId="3430548f-4128-4c63-a4e9-0ac978b97e91" providerId="ADAL" clId="{542468FF-6B3B-41B8-8E15-A556316D2AC1}" dt="2021-07-21T10:41:25.118" v="338" actId="1035"/>
          <ac:spMkLst>
            <pc:docMk/>
            <pc:sldMk cId="3626882665" sldId="2146847341"/>
            <ac:spMk id="15" creationId="{302DB14B-C7B8-4DA8-B5B9-FE69C9510C5C}"/>
          </ac:spMkLst>
        </pc:spChg>
        <pc:spChg chg="mod">
          <ac:chgData name="Yadav, Ashvarya" userId="3430548f-4128-4c63-a4e9-0ac978b97e91" providerId="ADAL" clId="{542468FF-6B3B-41B8-8E15-A556316D2AC1}" dt="2021-07-21T10:41:25.118" v="338" actId="1035"/>
          <ac:spMkLst>
            <pc:docMk/>
            <pc:sldMk cId="3626882665" sldId="2146847341"/>
            <ac:spMk id="16" creationId="{F2B0E18C-5F19-4D23-974A-3B9D0F7B40B5}"/>
          </ac:spMkLst>
        </pc:spChg>
        <pc:spChg chg="mod">
          <ac:chgData name="Yadav, Ashvarya" userId="3430548f-4128-4c63-a4e9-0ac978b97e91" providerId="ADAL" clId="{542468FF-6B3B-41B8-8E15-A556316D2AC1}" dt="2021-07-21T10:41:25.118" v="338" actId="1035"/>
          <ac:spMkLst>
            <pc:docMk/>
            <pc:sldMk cId="3626882665" sldId="2146847341"/>
            <ac:spMk id="17" creationId="{08898881-4F55-45F8-8626-F88E68AF249D}"/>
          </ac:spMkLst>
        </pc:spChg>
        <pc:spChg chg="mod">
          <ac:chgData name="Yadav, Ashvarya" userId="3430548f-4128-4c63-a4e9-0ac978b97e91" providerId="ADAL" clId="{542468FF-6B3B-41B8-8E15-A556316D2AC1}" dt="2021-07-21T10:41:25.118" v="338" actId="1035"/>
          <ac:spMkLst>
            <pc:docMk/>
            <pc:sldMk cId="3626882665" sldId="2146847341"/>
            <ac:spMk id="18" creationId="{01DB14B5-058A-4354-851D-AFF3C963C95E}"/>
          </ac:spMkLst>
        </pc:spChg>
        <pc:spChg chg="mod">
          <ac:chgData name="Yadav, Ashvarya" userId="3430548f-4128-4c63-a4e9-0ac978b97e91" providerId="ADAL" clId="{542468FF-6B3B-41B8-8E15-A556316D2AC1}" dt="2021-07-21T10:41:25.118" v="338" actId="1035"/>
          <ac:spMkLst>
            <pc:docMk/>
            <pc:sldMk cId="3626882665" sldId="2146847341"/>
            <ac:spMk id="19" creationId="{B64A0018-18E8-4891-A662-28D81A1A2FDB}"/>
          </ac:spMkLst>
        </pc:spChg>
        <pc:spChg chg="mod">
          <ac:chgData name="Yadav, Ashvarya" userId="3430548f-4128-4c63-a4e9-0ac978b97e91" providerId="ADAL" clId="{542468FF-6B3B-41B8-8E15-A556316D2AC1}" dt="2021-07-21T10:41:25.118" v="338" actId="1035"/>
          <ac:spMkLst>
            <pc:docMk/>
            <pc:sldMk cId="3626882665" sldId="2146847341"/>
            <ac:spMk id="20" creationId="{9753B31E-42C5-4AD5-8CD5-699D5B1CDE75}"/>
          </ac:spMkLst>
        </pc:spChg>
        <pc:spChg chg="mod">
          <ac:chgData name="Yadav, Ashvarya" userId="3430548f-4128-4c63-a4e9-0ac978b97e91" providerId="ADAL" clId="{542468FF-6B3B-41B8-8E15-A556316D2AC1}" dt="2021-07-21T10:41:25.118" v="338" actId="1035"/>
          <ac:spMkLst>
            <pc:docMk/>
            <pc:sldMk cId="3626882665" sldId="2146847341"/>
            <ac:spMk id="21" creationId="{0838AC06-0173-4A8D-AD6C-2BA338754453}"/>
          </ac:spMkLst>
        </pc:spChg>
        <pc:spChg chg="mod">
          <ac:chgData name="Yadav, Ashvarya" userId="3430548f-4128-4c63-a4e9-0ac978b97e91" providerId="ADAL" clId="{542468FF-6B3B-41B8-8E15-A556316D2AC1}" dt="2021-07-21T10:41:25.118" v="338" actId="1035"/>
          <ac:spMkLst>
            <pc:docMk/>
            <pc:sldMk cId="3626882665" sldId="2146847341"/>
            <ac:spMk id="22" creationId="{A39FF7DA-0F20-4EF2-961C-5C74C2672DA8}"/>
          </ac:spMkLst>
        </pc:spChg>
        <pc:graphicFrameChg chg="add mod">
          <ac:chgData name="Yadav, Ashvarya" userId="3430548f-4128-4c63-a4e9-0ac978b97e91" providerId="ADAL" clId="{542468FF-6B3B-41B8-8E15-A556316D2AC1}" dt="2021-07-21T10:41:11.214" v="324" actId="1035"/>
          <ac:graphicFrameMkLst>
            <pc:docMk/>
            <pc:sldMk cId="3626882665" sldId="2146847341"/>
            <ac:graphicFrameMk id="13" creationId="{07FAC022-C1C6-4D34-B216-20068CF6ADEC}"/>
          </ac:graphicFrameMkLst>
        </pc:graphicFrameChg>
      </pc:sldChg>
      <pc:sldChg chg="delSp del mod">
        <pc:chgData name="Yadav, Ashvarya" userId="3430548f-4128-4c63-a4e9-0ac978b97e91" providerId="ADAL" clId="{542468FF-6B3B-41B8-8E15-A556316D2AC1}" dt="2021-07-21T10:41:29.393" v="339" actId="47"/>
        <pc:sldMkLst>
          <pc:docMk/>
          <pc:sldMk cId="779028221" sldId="2146847342"/>
        </pc:sldMkLst>
        <pc:graphicFrameChg chg="del">
          <ac:chgData name="Yadav, Ashvarya" userId="3430548f-4128-4c63-a4e9-0ac978b97e91" providerId="ADAL" clId="{542468FF-6B3B-41B8-8E15-A556316D2AC1}" dt="2021-07-21T10:41:03.307" v="292" actId="21"/>
          <ac:graphicFrameMkLst>
            <pc:docMk/>
            <pc:sldMk cId="779028221" sldId="2146847342"/>
            <ac:graphicFrameMk id="7" creationId="{B4FCA0E6-A61B-4F11-B829-B9D15136B06B}"/>
          </ac:graphicFrameMkLst>
        </pc:graphicFrameChg>
      </pc:sldChg>
      <pc:sldChg chg="addSp modSp mod">
        <pc:chgData name="Yadav, Ashvarya" userId="3430548f-4128-4c63-a4e9-0ac978b97e91" providerId="ADAL" clId="{542468FF-6B3B-41B8-8E15-A556316D2AC1}" dt="2021-07-21T10:42:27.072" v="377" actId="1036"/>
        <pc:sldMkLst>
          <pc:docMk/>
          <pc:sldMk cId="37923841" sldId="2146847343"/>
        </pc:sldMkLst>
        <pc:spChg chg="mod">
          <ac:chgData name="Yadav, Ashvarya" userId="3430548f-4128-4c63-a4e9-0ac978b97e91" providerId="ADAL" clId="{542468FF-6B3B-41B8-8E15-A556316D2AC1}" dt="2021-07-21T10:42:27.072" v="377" actId="1036"/>
          <ac:spMkLst>
            <pc:docMk/>
            <pc:sldMk cId="37923841" sldId="2146847343"/>
            <ac:spMk id="13" creationId="{68524494-B930-44FB-A4DF-633B91C420DF}"/>
          </ac:spMkLst>
        </pc:spChg>
        <pc:grpChg chg="mod">
          <ac:chgData name="Yadav, Ashvarya" userId="3430548f-4128-4c63-a4e9-0ac978b97e91" providerId="ADAL" clId="{542468FF-6B3B-41B8-8E15-A556316D2AC1}" dt="2021-07-21T10:42:27.072" v="377" actId="1036"/>
          <ac:grpSpMkLst>
            <pc:docMk/>
            <pc:sldMk cId="37923841" sldId="2146847343"/>
            <ac:grpSpMk id="14" creationId="{906EA98B-BABC-4890-91A0-5D8D17F870F3}"/>
          </ac:grpSpMkLst>
        </pc:grpChg>
        <pc:graphicFrameChg chg="add mod">
          <ac:chgData name="Yadav, Ashvarya" userId="3430548f-4128-4c63-a4e9-0ac978b97e91" providerId="ADAL" clId="{542468FF-6B3B-41B8-8E15-A556316D2AC1}" dt="2021-07-21T10:42:17.676" v="373" actId="1035"/>
          <ac:graphicFrameMkLst>
            <pc:docMk/>
            <pc:sldMk cId="37923841" sldId="2146847343"/>
            <ac:graphicFrameMk id="15" creationId="{D4453E2D-47BF-46D2-B2E2-5B60788EE12F}"/>
          </ac:graphicFrameMkLst>
        </pc:graphicFrameChg>
      </pc:sldChg>
      <pc:sldChg chg="delSp del mod">
        <pc:chgData name="Yadav, Ashvarya" userId="3430548f-4128-4c63-a4e9-0ac978b97e91" providerId="ADAL" clId="{542468FF-6B3B-41B8-8E15-A556316D2AC1}" dt="2021-07-21T10:42:33.246" v="378" actId="47"/>
        <pc:sldMkLst>
          <pc:docMk/>
          <pc:sldMk cId="3672399878" sldId="2146847344"/>
        </pc:sldMkLst>
        <pc:graphicFrameChg chg="del">
          <ac:chgData name="Yadav, Ashvarya" userId="3430548f-4128-4c63-a4e9-0ac978b97e91" providerId="ADAL" clId="{542468FF-6B3B-41B8-8E15-A556316D2AC1}" dt="2021-07-21T10:42:09.697" v="340" actId="21"/>
          <ac:graphicFrameMkLst>
            <pc:docMk/>
            <pc:sldMk cId="3672399878" sldId="2146847344"/>
            <ac:graphicFrameMk id="7" creationId="{B4FCA0E6-A61B-4F11-B829-B9D15136B06B}"/>
          </ac:graphicFrameMkLst>
        </pc:graphicFrameChg>
      </pc:sldChg>
      <pc:sldChg chg="addSp modSp mod">
        <pc:chgData name="Yadav, Ashvarya" userId="3430548f-4128-4c63-a4e9-0ac978b97e91" providerId="ADAL" clId="{542468FF-6B3B-41B8-8E15-A556316D2AC1}" dt="2021-07-21T10:43:16.672" v="421" actId="1036"/>
        <pc:sldMkLst>
          <pc:docMk/>
          <pc:sldMk cId="1058491955" sldId="2146847345"/>
        </pc:sldMkLst>
        <pc:spChg chg="mod">
          <ac:chgData name="Yadav, Ashvarya" userId="3430548f-4128-4c63-a4e9-0ac978b97e91" providerId="ADAL" clId="{542468FF-6B3B-41B8-8E15-A556316D2AC1}" dt="2021-07-21T10:43:16.672" v="421" actId="1036"/>
          <ac:spMkLst>
            <pc:docMk/>
            <pc:sldMk cId="1058491955" sldId="2146847345"/>
            <ac:spMk id="16" creationId="{ABF1BC5A-A63C-4237-8CA2-FF46C9D683E9}"/>
          </ac:spMkLst>
        </pc:spChg>
        <pc:spChg chg="mod">
          <ac:chgData name="Yadav, Ashvarya" userId="3430548f-4128-4c63-a4e9-0ac978b97e91" providerId="ADAL" clId="{542468FF-6B3B-41B8-8E15-A556316D2AC1}" dt="2021-07-21T10:43:16.672" v="421" actId="1036"/>
          <ac:spMkLst>
            <pc:docMk/>
            <pc:sldMk cId="1058491955" sldId="2146847345"/>
            <ac:spMk id="17" creationId="{FA80EBFA-C884-4DE6-9F4D-692C43FD6CF8}"/>
          </ac:spMkLst>
        </pc:spChg>
        <pc:spChg chg="mod">
          <ac:chgData name="Yadav, Ashvarya" userId="3430548f-4128-4c63-a4e9-0ac978b97e91" providerId="ADAL" clId="{542468FF-6B3B-41B8-8E15-A556316D2AC1}" dt="2021-07-21T10:43:16.672" v="421" actId="1036"/>
          <ac:spMkLst>
            <pc:docMk/>
            <pc:sldMk cId="1058491955" sldId="2146847345"/>
            <ac:spMk id="18" creationId="{BE8F10AE-9BAA-4EA1-99EA-139B057330D9}"/>
          </ac:spMkLst>
        </pc:spChg>
        <pc:spChg chg="mod">
          <ac:chgData name="Yadav, Ashvarya" userId="3430548f-4128-4c63-a4e9-0ac978b97e91" providerId="ADAL" clId="{542468FF-6B3B-41B8-8E15-A556316D2AC1}" dt="2021-07-21T10:43:16.672" v="421" actId="1036"/>
          <ac:spMkLst>
            <pc:docMk/>
            <pc:sldMk cId="1058491955" sldId="2146847345"/>
            <ac:spMk id="19" creationId="{84B77CC3-4105-44E8-AE61-7AA859662437}"/>
          </ac:spMkLst>
        </pc:spChg>
        <pc:spChg chg="mod">
          <ac:chgData name="Yadav, Ashvarya" userId="3430548f-4128-4c63-a4e9-0ac978b97e91" providerId="ADAL" clId="{542468FF-6B3B-41B8-8E15-A556316D2AC1}" dt="2021-07-21T10:43:16.672" v="421" actId="1036"/>
          <ac:spMkLst>
            <pc:docMk/>
            <pc:sldMk cId="1058491955" sldId="2146847345"/>
            <ac:spMk id="20" creationId="{CE83B3AE-5361-456F-A4F0-1B15D836AA2B}"/>
          </ac:spMkLst>
        </pc:spChg>
        <pc:graphicFrameChg chg="add mod">
          <ac:chgData name="Yadav, Ashvarya" userId="3430548f-4128-4c63-a4e9-0ac978b97e91" providerId="ADAL" clId="{542468FF-6B3B-41B8-8E15-A556316D2AC1}" dt="2021-07-21T10:43:09.719" v="415" actId="1035"/>
          <ac:graphicFrameMkLst>
            <pc:docMk/>
            <pc:sldMk cId="1058491955" sldId="2146847345"/>
            <ac:graphicFrameMk id="10" creationId="{038F1EAB-47A1-4F83-8276-D8E478932768}"/>
          </ac:graphicFrameMkLst>
        </pc:graphicFrameChg>
      </pc:sldChg>
      <pc:sldChg chg="delSp del mod">
        <pc:chgData name="Yadav, Ashvarya" userId="3430548f-4128-4c63-a4e9-0ac978b97e91" providerId="ADAL" clId="{542468FF-6B3B-41B8-8E15-A556316D2AC1}" dt="2021-07-21T10:43:21.579" v="422" actId="47"/>
        <pc:sldMkLst>
          <pc:docMk/>
          <pc:sldMk cId="4168815777" sldId="2146847346"/>
        </pc:sldMkLst>
        <pc:graphicFrameChg chg="del">
          <ac:chgData name="Yadav, Ashvarya" userId="3430548f-4128-4c63-a4e9-0ac978b97e91" providerId="ADAL" clId="{542468FF-6B3B-41B8-8E15-A556316D2AC1}" dt="2021-07-21T10:43:04.421" v="388" actId="21"/>
          <ac:graphicFrameMkLst>
            <pc:docMk/>
            <pc:sldMk cId="4168815777" sldId="2146847346"/>
            <ac:graphicFrameMk id="7" creationId="{B4FCA0E6-A61B-4F11-B829-B9D15136B06B}"/>
          </ac:graphicFrameMkLst>
        </pc:graphicFrameChg>
      </pc:sldChg>
      <pc:sldChg chg="addSp modSp mod">
        <pc:chgData name="Yadav, Ashvarya" userId="3430548f-4128-4c63-a4e9-0ac978b97e91" providerId="ADAL" clId="{542468FF-6B3B-41B8-8E15-A556316D2AC1}" dt="2021-07-21T10:44:49.723" v="455" actId="14100"/>
        <pc:sldMkLst>
          <pc:docMk/>
          <pc:sldMk cId="3885648536" sldId="2146847347"/>
        </pc:sldMkLst>
        <pc:spChg chg="mod">
          <ac:chgData name="Yadav, Ashvarya" userId="3430548f-4128-4c63-a4e9-0ac978b97e91" providerId="ADAL" clId="{542468FF-6B3B-41B8-8E15-A556316D2AC1}" dt="2021-07-21T10:44:49.723" v="455" actId="14100"/>
          <ac:spMkLst>
            <pc:docMk/>
            <pc:sldMk cId="3885648536" sldId="2146847347"/>
            <ac:spMk id="13" creationId="{A2A2B339-34D0-4E4C-A64A-1D4F53CF4E1E}"/>
          </ac:spMkLst>
        </pc:spChg>
        <pc:spChg chg="mod">
          <ac:chgData name="Yadav, Ashvarya" userId="3430548f-4128-4c63-a4e9-0ac978b97e91" providerId="ADAL" clId="{542468FF-6B3B-41B8-8E15-A556316D2AC1}" dt="2021-07-21T10:44:40.986" v="454" actId="1038"/>
          <ac:spMkLst>
            <pc:docMk/>
            <pc:sldMk cId="3885648536" sldId="2146847347"/>
            <ac:spMk id="14" creationId="{CC75590A-0B2A-4DC7-8276-6CF0AA6A570B}"/>
          </ac:spMkLst>
        </pc:spChg>
        <pc:spChg chg="mod">
          <ac:chgData name="Yadav, Ashvarya" userId="3430548f-4128-4c63-a4e9-0ac978b97e91" providerId="ADAL" clId="{542468FF-6B3B-41B8-8E15-A556316D2AC1}" dt="2021-07-21T10:44:40.986" v="454" actId="1038"/>
          <ac:spMkLst>
            <pc:docMk/>
            <pc:sldMk cId="3885648536" sldId="2146847347"/>
            <ac:spMk id="23" creationId="{1C06B414-FC51-41C8-8FB0-3B8CBF313D11}"/>
          </ac:spMkLst>
        </pc:spChg>
        <pc:spChg chg="mod">
          <ac:chgData name="Yadav, Ashvarya" userId="3430548f-4128-4c63-a4e9-0ac978b97e91" providerId="ADAL" clId="{542468FF-6B3B-41B8-8E15-A556316D2AC1}" dt="2021-07-21T10:44:40.986" v="454" actId="1038"/>
          <ac:spMkLst>
            <pc:docMk/>
            <pc:sldMk cId="3885648536" sldId="2146847347"/>
            <ac:spMk id="24" creationId="{9E1844B7-E4AB-4C61-A35C-F15C132A6968}"/>
          </ac:spMkLst>
        </pc:spChg>
        <pc:spChg chg="mod">
          <ac:chgData name="Yadav, Ashvarya" userId="3430548f-4128-4c63-a4e9-0ac978b97e91" providerId="ADAL" clId="{542468FF-6B3B-41B8-8E15-A556316D2AC1}" dt="2021-07-21T10:44:40.986" v="454" actId="1038"/>
          <ac:spMkLst>
            <pc:docMk/>
            <pc:sldMk cId="3885648536" sldId="2146847347"/>
            <ac:spMk id="25" creationId="{5C47D989-D963-4F76-AB4D-F9856F5B50AC}"/>
          </ac:spMkLst>
        </pc:spChg>
        <pc:spChg chg="mod">
          <ac:chgData name="Yadav, Ashvarya" userId="3430548f-4128-4c63-a4e9-0ac978b97e91" providerId="ADAL" clId="{542468FF-6B3B-41B8-8E15-A556316D2AC1}" dt="2021-07-21T10:44:40.986" v="454" actId="1038"/>
          <ac:spMkLst>
            <pc:docMk/>
            <pc:sldMk cId="3885648536" sldId="2146847347"/>
            <ac:spMk id="26" creationId="{4F7FFED5-22BA-47DE-898F-A456A970819E}"/>
          </ac:spMkLst>
        </pc:spChg>
        <pc:spChg chg="mod">
          <ac:chgData name="Yadav, Ashvarya" userId="3430548f-4128-4c63-a4e9-0ac978b97e91" providerId="ADAL" clId="{542468FF-6B3B-41B8-8E15-A556316D2AC1}" dt="2021-07-21T10:44:40.986" v="454" actId="1038"/>
          <ac:spMkLst>
            <pc:docMk/>
            <pc:sldMk cId="3885648536" sldId="2146847347"/>
            <ac:spMk id="27" creationId="{33A613B4-48EB-4627-B175-58670DFB733D}"/>
          </ac:spMkLst>
        </pc:spChg>
        <pc:spChg chg="mod">
          <ac:chgData name="Yadav, Ashvarya" userId="3430548f-4128-4c63-a4e9-0ac978b97e91" providerId="ADAL" clId="{542468FF-6B3B-41B8-8E15-A556316D2AC1}" dt="2021-07-21T10:44:40.986" v="454" actId="1038"/>
          <ac:spMkLst>
            <pc:docMk/>
            <pc:sldMk cId="3885648536" sldId="2146847347"/>
            <ac:spMk id="28" creationId="{22449DAB-2376-4BE5-A672-98352E6E24B9}"/>
          </ac:spMkLst>
        </pc:spChg>
        <pc:spChg chg="mod">
          <ac:chgData name="Yadav, Ashvarya" userId="3430548f-4128-4c63-a4e9-0ac978b97e91" providerId="ADAL" clId="{542468FF-6B3B-41B8-8E15-A556316D2AC1}" dt="2021-07-21T10:44:40.986" v="454" actId="1038"/>
          <ac:spMkLst>
            <pc:docMk/>
            <pc:sldMk cId="3885648536" sldId="2146847347"/>
            <ac:spMk id="29" creationId="{7D9E0D87-988B-41ED-A7F2-8BECCAA22274}"/>
          </ac:spMkLst>
        </pc:spChg>
        <pc:graphicFrameChg chg="add mod">
          <ac:chgData name="Yadav, Ashvarya" userId="3430548f-4128-4c63-a4e9-0ac978b97e91" providerId="ADAL" clId="{542468FF-6B3B-41B8-8E15-A556316D2AC1}" dt="2021-07-21T10:44:26.477" v="448" actId="1036"/>
          <ac:graphicFrameMkLst>
            <pc:docMk/>
            <pc:sldMk cId="3885648536" sldId="2146847347"/>
            <ac:graphicFrameMk id="15" creationId="{24FDDE7B-7BE6-4EFB-AEF1-669B0772DD9F}"/>
          </ac:graphicFrameMkLst>
        </pc:graphicFrameChg>
      </pc:sldChg>
      <pc:sldChg chg="delSp del mod">
        <pc:chgData name="Yadav, Ashvarya" userId="3430548f-4128-4c63-a4e9-0ac978b97e91" providerId="ADAL" clId="{542468FF-6B3B-41B8-8E15-A556316D2AC1}" dt="2021-07-21T10:44:57.488" v="456" actId="47"/>
        <pc:sldMkLst>
          <pc:docMk/>
          <pc:sldMk cId="3376155152" sldId="2146847348"/>
        </pc:sldMkLst>
        <pc:graphicFrameChg chg="del">
          <ac:chgData name="Yadav, Ashvarya" userId="3430548f-4128-4c63-a4e9-0ac978b97e91" providerId="ADAL" clId="{542468FF-6B3B-41B8-8E15-A556316D2AC1}" dt="2021-07-21T10:44:21.002" v="423" actId="21"/>
          <ac:graphicFrameMkLst>
            <pc:docMk/>
            <pc:sldMk cId="3376155152" sldId="2146847348"/>
            <ac:graphicFrameMk id="7" creationId="{B4FCA0E6-A61B-4F11-B829-B9D15136B06B}"/>
          </ac:graphicFrameMkLst>
        </pc:graphicFrameChg>
      </pc:sldChg>
      <pc:sldChg chg="addSp modSp mod">
        <pc:chgData name="Yadav, Ashvarya" userId="3430548f-4128-4c63-a4e9-0ac978b97e91" providerId="ADAL" clId="{542468FF-6B3B-41B8-8E15-A556316D2AC1}" dt="2021-07-21T10:45:49.583" v="488" actId="1036"/>
        <pc:sldMkLst>
          <pc:docMk/>
          <pc:sldMk cId="836368788" sldId="2146847349"/>
        </pc:sldMkLst>
        <pc:spChg chg="mod">
          <ac:chgData name="Yadav, Ashvarya" userId="3430548f-4128-4c63-a4e9-0ac978b97e91" providerId="ADAL" clId="{542468FF-6B3B-41B8-8E15-A556316D2AC1}" dt="2021-07-21T10:45:49.583" v="488" actId="1036"/>
          <ac:spMkLst>
            <pc:docMk/>
            <pc:sldMk cId="836368788" sldId="2146847349"/>
            <ac:spMk id="15" creationId="{DBABFF14-2BFD-4C5D-8314-3F8E47A8F4D2}"/>
          </ac:spMkLst>
        </pc:spChg>
        <pc:spChg chg="mod">
          <ac:chgData name="Yadav, Ashvarya" userId="3430548f-4128-4c63-a4e9-0ac978b97e91" providerId="ADAL" clId="{542468FF-6B3B-41B8-8E15-A556316D2AC1}" dt="2021-07-21T10:45:49.583" v="488" actId="1036"/>
          <ac:spMkLst>
            <pc:docMk/>
            <pc:sldMk cId="836368788" sldId="2146847349"/>
            <ac:spMk id="16" creationId="{29F70C51-DB5F-453F-91CD-75CA9665A484}"/>
          </ac:spMkLst>
        </pc:spChg>
        <pc:spChg chg="mod">
          <ac:chgData name="Yadav, Ashvarya" userId="3430548f-4128-4c63-a4e9-0ac978b97e91" providerId="ADAL" clId="{542468FF-6B3B-41B8-8E15-A556316D2AC1}" dt="2021-07-21T10:45:49.583" v="488" actId="1036"/>
          <ac:spMkLst>
            <pc:docMk/>
            <pc:sldMk cId="836368788" sldId="2146847349"/>
            <ac:spMk id="17" creationId="{7EEB47F8-A8A5-4FFF-AEB0-8D7E32BCFBB5}"/>
          </ac:spMkLst>
        </pc:spChg>
        <pc:spChg chg="mod">
          <ac:chgData name="Yadav, Ashvarya" userId="3430548f-4128-4c63-a4e9-0ac978b97e91" providerId="ADAL" clId="{542468FF-6B3B-41B8-8E15-A556316D2AC1}" dt="2021-07-21T10:45:49.583" v="488" actId="1036"/>
          <ac:spMkLst>
            <pc:docMk/>
            <pc:sldMk cId="836368788" sldId="2146847349"/>
            <ac:spMk id="18" creationId="{BEA6FC86-8E8B-48AC-A4F0-63196338A220}"/>
          </ac:spMkLst>
        </pc:spChg>
        <pc:spChg chg="mod">
          <ac:chgData name="Yadav, Ashvarya" userId="3430548f-4128-4c63-a4e9-0ac978b97e91" providerId="ADAL" clId="{542468FF-6B3B-41B8-8E15-A556316D2AC1}" dt="2021-07-21T10:45:49.583" v="488" actId="1036"/>
          <ac:spMkLst>
            <pc:docMk/>
            <pc:sldMk cId="836368788" sldId="2146847349"/>
            <ac:spMk id="19" creationId="{95705CFB-6BAF-422F-A774-E090D53478CD}"/>
          </ac:spMkLst>
        </pc:spChg>
        <pc:spChg chg="mod">
          <ac:chgData name="Yadav, Ashvarya" userId="3430548f-4128-4c63-a4e9-0ac978b97e91" providerId="ADAL" clId="{542468FF-6B3B-41B8-8E15-A556316D2AC1}" dt="2021-07-21T10:45:49.583" v="488" actId="1036"/>
          <ac:spMkLst>
            <pc:docMk/>
            <pc:sldMk cId="836368788" sldId="2146847349"/>
            <ac:spMk id="20" creationId="{0FC72FCA-632A-4F33-9228-FF54A7E7D0E6}"/>
          </ac:spMkLst>
        </pc:spChg>
        <pc:spChg chg="mod">
          <ac:chgData name="Yadav, Ashvarya" userId="3430548f-4128-4c63-a4e9-0ac978b97e91" providerId="ADAL" clId="{542468FF-6B3B-41B8-8E15-A556316D2AC1}" dt="2021-07-21T10:45:49.583" v="488" actId="1036"/>
          <ac:spMkLst>
            <pc:docMk/>
            <pc:sldMk cId="836368788" sldId="2146847349"/>
            <ac:spMk id="21" creationId="{D1119EA2-5140-493E-AA28-ABA4A8387033}"/>
          </ac:spMkLst>
        </pc:spChg>
        <pc:spChg chg="mod">
          <ac:chgData name="Yadav, Ashvarya" userId="3430548f-4128-4c63-a4e9-0ac978b97e91" providerId="ADAL" clId="{542468FF-6B3B-41B8-8E15-A556316D2AC1}" dt="2021-07-21T10:45:49.583" v="488" actId="1036"/>
          <ac:spMkLst>
            <pc:docMk/>
            <pc:sldMk cId="836368788" sldId="2146847349"/>
            <ac:spMk id="22" creationId="{96709BDE-6C72-4C0E-9999-816AD82B2308}"/>
          </ac:spMkLst>
        </pc:spChg>
        <pc:graphicFrameChg chg="add mod">
          <ac:chgData name="Yadav, Ashvarya" userId="3430548f-4128-4c63-a4e9-0ac978b97e91" providerId="ADAL" clId="{542468FF-6B3B-41B8-8E15-A556316D2AC1}" dt="2021-07-21T10:45:41.825" v="483" actId="1036"/>
          <ac:graphicFrameMkLst>
            <pc:docMk/>
            <pc:sldMk cId="836368788" sldId="2146847349"/>
            <ac:graphicFrameMk id="13" creationId="{E1D6C4B5-254E-4047-A991-6D4968ADE379}"/>
          </ac:graphicFrameMkLst>
        </pc:graphicFrameChg>
      </pc:sldChg>
      <pc:sldChg chg="delSp del mod">
        <pc:chgData name="Yadav, Ashvarya" userId="3430548f-4128-4c63-a4e9-0ac978b97e91" providerId="ADAL" clId="{542468FF-6B3B-41B8-8E15-A556316D2AC1}" dt="2021-07-21T10:45:53.745" v="489" actId="47"/>
        <pc:sldMkLst>
          <pc:docMk/>
          <pc:sldMk cId="546629339" sldId="2146847350"/>
        </pc:sldMkLst>
        <pc:graphicFrameChg chg="del">
          <ac:chgData name="Yadav, Ashvarya" userId="3430548f-4128-4c63-a4e9-0ac978b97e91" providerId="ADAL" clId="{542468FF-6B3B-41B8-8E15-A556316D2AC1}" dt="2021-07-21T10:45:34.454" v="457" actId="21"/>
          <ac:graphicFrameMkLst>
            <pc:docMk/>
            <pc:sldMk cId="546629339" sldId="2146847350"/>
            <ac:graphicFrameMk id="7" creationId="{B4FCA0E6-A61B-4F11-B829-B9D15136B06B}"/>
          </ac:graphicFrameMkLst>
        </pc:graphicFrameChg>
      </pc:sldChg>
      <pc:sldChg chg="addSp modSp mod">
        <pc:chgData name="Yadav, Ashvarya" userId="3430548f-4128-4c63-a4e9-0ac978b97e91" providerId="ADAL" clId="{542468FF-6B3B-41B8-8E15-A556316D2AC1}" dt="2021-07-21T10:46:32.386" v="518" actId="1036"/>
        <pc:sldMkLst>
          <pc:docMk/>
          <pc:sldMk cId="1338665722" sldId="2146847351"/>
        </pc:sldMkLst>
        <pc:graphicFrameChg chg="add mod">
          <ac:chgData name="Yadav, Ashvarya" userId="3430548f-4128-4c63-a4e9-0ac978b97e91" providerId="ADAL" clId="{542468FF-6B3B-41B8-8E15-A556316D2AC1}" dt="2021-07-21T10:46:32.386" v="518" actId="1036"/>
          <ac:graphicFrameMkLst>
            <pc:docMk/>
            <pc:sldMk cId="1338665722" sldId="2146847351"/>
            <ac:graphicFrameMk id="14" creationId="{F0423E4E-7FAD-4AB3-99B2-F24577B59D66}"/>
          </ac:graphicFrameMkLst>
        </pc:graphicFrameChg>
      </pc:sldChg>
      <pc:sldChg chg="delSp del mod">
        <pc:chgData name="Yadav, Ashvarya" userId="3430548f-4128-4c63-a4e9-0ac978b97e91" providerId="ADAL" clId="{542468FF-6B3B-41B8-8E15-A556316D2AC1}" dt="2021-07-21T10:46:39.540" v="519" actId="47"/>
        <pc:sldMkLst>
          <pc:docMk/>
          <pc:sldMk cId="1402549093" sldId="2146847352"/>
        </pc:sldMkLst>
        <pc:graphicFrameChg chg="del">
          <ac:chgData name="Yadav, Ashvarya" userId="3430548f-4128-4c63-a4e9-0ac978b97e91" providerId="ADAL" clId="{542468FF-6B3B-41B8-8E15-A556316D2AC1}" dt="2021-07-21T10:46:25.780" v="490" actId="21"/>
          <ac:graphicFrameMkLst>
            <pc:docMk/>
            <pc:sldMk cId="1402549093" sldId="2146847352"/>
            <ac:graphicFrameMk id="7" creationId="{B4FCA0E6-A61B-4F11-B829-B9D15136B06B}"/>
          </ac:graphicFrameMkLst>
        </pc:graphicFrameChg>
      </pc:sldChg>
      <pc:sldChg chg="addSp modSp mod">
        <pc:chgData name="Yadav, Ashvarya" userId="3430548f-4128-4c63-a4e9-0ac978b97e91" providerId="ADAL" clId="{542468FF-6B3B-41B8-8E15-A556316D2AC1}" dt="2021-07-21T10:47:35.382" v="549" actId="1036"/>
        <pc:sldMkLst>
          <pc:docMk/>
          <pc:sldMk cId="798288387" sldId="2146847353"/>
        </pc:sldMkLst>
        <pc:graphicFrameChg chg="add mod">
          <ac:chgData name="Yadav, Ashvarya" userId="3430548f-4128-4c63-a4e9-0ac978b97e91" providerId="ADAL" clId="{542468FF-6B3B-41B8-8E15-A556316D2AC1}" dt="2021-07-21T10:47:35.382" v="549" actId="1036"/>
          <ac:graphicFrameMkLst>
            <pc:docMk/>
            <pc:sldMk cId="798288387" sldId="2146847353"/>
            <ac:graphicFrameMk id="23" creationId="{B74133A7-F3E1-4784-9567-04A09AB646D7}"/>
          </ac:graphicFrameMkLst>
        </pc:graphicFrameChg>
      </pc:sldChg>
      <pc:sldChg chg="delSp del mod">
        <pc:chgData name="Yadav, Ashvarya" userId="3430548f-4128-4c63-a4e9-0ac978b97e91" providerId="ADAL" clId="{542468FF-6B3B-41B8-8E15-A556316D2AC1}" dt="2021-07-21T10:47:37.941" v="550" actId="47"/>
        <pc:sldMkLst>
          <pc:docMk/>
          <pc:sldMk cId="3556729532" sldId="2146847354"/>
        </pc:sldMkLst>
        <pc:graphicFrameChg chg="del">
          <ac:chgData name="Yadav, Ashvarya" userId="3430548f-4128-4c63-a4e9-0ac978b97e91" providerId="ADAL" clId="{542468FF-6B3B-41B8-8E15-A556316D2AC1}" dt="2021-07-21T10:47:28.707" v="520" actId="21"/>
          <ac:graphicFrameMkLst>
            <pc:docMk/>
            <pc:sldMk cId="3556729532" sldId="2146847354"/>
            <ac:graphicFrameMk id="7" creationId="{B4FCA0E6-A61B-4F11-B829-B9D15136B06B}"/>
          </ac:graphicFrameMkLst>
        </pc:graphicFrameChg>
      </pc:sldChg>
      <pc:sldChg chg="addSp modSp mod">
        <pc:chgData name="Yadav, Ashvarya" userId="3430548f-4128-4c63-a4e9-0ac978b97e91" providerId="ADAL" clId="{542468FF-6B3B-41B8-8E15-A556316D2AC1}" dt="2021-07-21T10:47:56.323" v="581" actId="1036"/>
        <pc:sldMkLst>
          <pc:docMk/>
          <pc:sldMk cId="412422343" sldId="2146847355"/>
        </pc:sldMkLst>
        <pc:graphicFrameChg chg="add mod">
          <ac:chgData name="Yadav, Ashvarya" userId="3430548f-4128-4c63-a4e9-0ac978b97e91" providerId="ADAL" clId="{542468FF-6B3B-41B8-8E15-A556316D2AC1}" dt="2021-07-21T10:47:56.323" v="581" actId="1036"/>
          <ac:graphicFrameMkLst>
            <pc:docMk/>
            <pc:sldMk cId="412422343" sldId="2146847355"/>
            <ac:graphicFrameMk id="9" creationId="{6621EF9A-5604-4DFD-8B28-B8A5A9F4DB60}"/>
          </ac:graphicFrameMkLst>
        </pc:graphicFrameChg>
      </pc:sldChg>
      <pc:sldChg chg="delSp del mod">
        <pc:chgData name="Yadav, Ashvarya" userId="3430548f-4128-4c63-a4e9-0ac978b97e91" providerId="ADAL" clId="{542468FF-6B3B-41B8-8E15-A556316D2AC1}" dt="2021-07-21T10:47:58.873" v="582" actId="47"/>
        <pc:sldMkLst>
          <pc:docMk/>
          <pc:sldMk cId="4158685518" sldId="2146847356"/>
        </pc:sldMkLst>
        <pc:graphicFrameChg chg="del">
          <ac:chgData name="Yadav, Ashvarya" userId="3430548f-4128-4c63-a4e9-0ac978b97e91" providerId="ADAL" clId="{542468FF-6B3B-41B8-8E15-A556316D2AC1}" dt="2021-07-21T10:47:50.334" v="551" actId="21"/>
          <ac:graphicFrameMkLst>
            <pc:docMk/>
            <pc:sldMk cId="4158685518" sldId="2146847356"/>
            <ac:graphicFrameMk id="7" creationId="{B4FCA0E6-A61B-4F11-B829-B9D15136B06B}"/>
          </ac:graphicFrameMkLst>
        </pc:graphicFrameChg>
      </pc:sldChg>
      <pc:sldChg chg="addSp modSp mod">
        <pc:chgData name="Yadav, Ashvarya" userId="3430548f-4128-4c63-a4e9-0ac978b97e91" providerId="ADAL" clId="{542468FF-6B3B-41B8-8E15-A556316D2AC1}" dt="2021-07-21T10:49:06.182" v="623" actId="1036"/>
        <pc:sldMkLst>
          <pc:docMk/>
          <pc:sldMk cId="1976825128" sldId="2146847357"/>
        </pc:sldMkLst>
        <pc:spChg chg="mod">
          <ac:chgData name="Yadav, Ashvarya" userId="3430548f-4128-4c63-a4e9-0ac978b97e91" providerId="ADAL" clId="{542468FF-6B3B-41B8-8E15-A556316D2AC1}" dt="2021-07-21T10:49:06.182" v="623" actId="1036"/>
          <ac:spMkLst>
            <pc:docMk/>
            <pc:sldMk cId="1976825128" sldId="2146847357"/>
            <ac:spMk id="9" creationId="{403C31E2-5F25-4E6D-B4F1-1B6A7534F56B}"/>
          </ac:spMkLst>
        </pc:spChg>
        <pc:spChg chg="mod">
          <ac:chgData name="Yadav, Ashvarya" userId="3430548f-4128-4c63-a4e9-0ac978b97e91" providerId="ADAL" clId="{542468FF-6B3B-41B8-8E15-A556316D2AC1}" dt="2021-07-21T10:49:06.182" v="623" actId="1036"/>
          <ac:spMkLst>
            <pc:docMk/>
            <pc:sldMk cId="1976825128" sldId="2146847357"/>
            <ac:spMk id="10" creationId="{F273082C-5590-4DFA-9E24-E2266B8219B4}"/>
          </ac:spMkLst>
        </pc:spChg>
        <pc:spChg chg="mod">
          <ac:chgData name="Yadav, Ashvarya" userId="3430548f-4128-4c63-a4e9-0ac978b97e91" providerId="ADAL" clId="{542468FF-6B3B-41B8-8E15-A556316D2AC1}" dt="2021-07-21T10:49:06.182" v="623" actId="1036"/>
          <ac:spMkLst>
            <pc:docMk/>
            <pc:sldMk cId="1976825128" sldId="2146847357"/>
            <ac:spMk id="11" creationId="{140E5829-CD03-422C-AD16-5C98C9BF0F9F}"/>
          </ac:spMkLst>
        </pc:spChg>
        <pc:spChg chg="mod">
          <ac:chgData name="Yadav, Ashvarya" userId="3430548f-4128-4c63-a4e9-0ac978b97e91" providerId="ADAL" clId="{542468FF-6B3B-41B8-8E15-A556316D2AC1}" dt="2021-07-21T10:49:06.182" v="623" actId="1036"/>
          <ac:spMkLst>
            <pc:docMk/>
            <pc:sldMk cId="1976825128" sldId="2146847357"/>
            <ac:spMk id="13" creationId="{A3BEEA79-CDF6-4934-BE98-1B557628B613}"/>
          </ac:spMkLst>
        </pc:spChg>
        <pc:spChg chg="mod">
          <ac:chgData name="Yadav, Ashvarya" userId="3430548f-4128-4c63-a4e9-0ac978b97e91" providerId="ADAL" clId="{542468FF-6B3B-41B8-8E15-A556316D2AC1}" dt="2021-07-21T10:49:06.182" v="623" actId="1036"/>
          <ac:spMkLst>
            <pc:docMk/>
            <pc:sldMk cId="1976825128" sldId="2146847357"/>
            <ac:spMk id="17" creationId="{4FE2C1B5-4412-4A69-ABAD-87E2C4D355B1}"/>
          </ac:spMkLst>
        </pc:spChg>
        <pc:spChg chg="mod">
          <ac:chgData name="Yadav, Ashvarya" userId="3430548f-4128-4c63-a4e9-0ac978b97e91" providerId="ADAL" clId="{542468FF-6B3B-41B8-8E15-A556316D2AC1}" dt="2021-07-21T10:49:06.182" v="623" actId="1036"/>
          <ac:spMkLst>
            <pc:docMk/>
            <pc:sldMk cId="1976825128" sldId="2146847357"/>
            <ac:spMk id="18" creationId="{357A2C41-B867-4F8D-897A-7C86F6A63751}"/>
          </ac:spMkLst>
        </pc:spChg>
        <pc:spChg chg="mod">
          <ac:chgData name="Yadav, Ashvarya" userId="3430548f-4128-4c63-a4e9-0ac978b97e91" providerId="ADAL" clId="{542468FF-6B3B-41B8-8E15-A556316D2AC1}" dt="2021-07-21T10:49:06.182" v="623" actId="1036"/>
          <ac:spMkLst>
            <pc:docMk/>
            <pc:sldMk cId="1976825128" sldId="2146847357"/>
            <ac:spMk id="19" creationId="{185562D9-E072-4D8C-878D-1F3412275C8C}"/>
          </ac:spMkLst>
        </pc:spChg>
        <pc:graphicFrameChg chg="add mod">
          <ac:chgData name="Yadav, Ashvarya" userId="3430548f-4128-4c63-a4e9-0ac978b97e91" providerId="ADAL" clId="{542468FF-6B3B-41B8-8E15-A556316D2AC1}" dt="2021-07-21T10:48:48.990" v="614" actId="1036"/>
          <ac:graphicFrameMkLst>
            <pc:docMk/>
            <pc:sldMk cId="1976825128" sldId="2146847357"/>
            <ac:graphicFrameMk id="12" creationId="{A3065D2D-38C0-4E06-A302-12855B1930CF}"/>
          </ac:graphicFrameMkLst>
        </pc:graphicFrameChg>
      </pc:sldChg>
      <pc:sldChg chg="delSp del mod">
        <pc:chgData name="Yadav, Ashvarya" userId="3430548f-4128-4c63-a4e9-0ac978b97e91" providerId="ADAL" clId="{542468FF-6B3B-41B8-8E15-A556316D2AC1}" dt="2021-07-21T10:49:09.493" v="624" actId="47"/>
        <pc:sldMkLst>
          <pc:docMk/>
          <pc:sldMk cId="3917431739" sldId="2146847358"/>
        </pc:sldMkLst>
        <pc:graphicFrameChg chg="del">
          <ac:chgData name="Yadav, Ashvarya" userId="3430548f-4128-4c63-a4e9-0ac978b97e91" providerId="ADAL" clId="{542468FF-6B3B-41B8-8E15-A556316D2AC1}" dt="2021-07-21T10:48:43.858" v="583" actId="21"/>
          <ac:graphicFrameMkLst>
            <pc:docMk/>
            <pc:sldMk cId="3917431739" sldId="2146847358"/>
            <ac:graphicFrameMk id="7" creationId="{B4FCA0E6-A61B-4F11-B829-B9D15136B06B}"/>
          </ac:graphicFrameMkLst>
        </pc:graphicFrameChg>
      </pc:sldChg>
      <pc:sldChg chg="addSp modSp mod">
        <pc:chgData name="Yadav, Ashvarya" userId="3430548f-4128-4c63-a4e9-0ac978b97e91" providerId="ADAL" clId="{542468FF-6B3B-41B8-8E15-A556316D2AC1}" dt="2021-07-21T13:42:44.652" v="673" actId="20577"/>
        <pc:sldMkLst>
          <pc:docMk/>
          <pc:sldMk cId="1034607313" sldId="2146847359"/>
        </pc:sldMkLst>
        <pc:spChg chg="mod">
          <ac:chgData name="Yadav, Ashvarya" userId="3430548f-4128-4c63-a4e9-0ac978b97e91" providerId="ADAL" clId="{542468FF-6B3B-41B8-8E15-A556316D2AC1}" dt="2021-07-21T13:41:33.638" v="640" actId="20577"/>
          <ac:spMkLst>
            <pc:docMk/>
            <pc:sldMk cId="1034607313" sldId="2146847359"/>
            <ac:spMk id="2" creationId="{98DEF4BE-89FE-4B38-9249-A50705FB9524}"/>
          </ac:spMkLst>
        </pc:spChg>
        <pc:spChg chg="mod">
          <ac:chgData name="Yadav, Ashvarya" userId="3430548f-4128-4c63-a4e9-0ac978b97e91" providerId="ADAL" clId="{542468FF-6B3B-41B8-8E15-A556316D2AC1}" dt="2021-07-21T13:41:24.151" v="630" actId="20577"/>
          <ac:spMkLst>
            <pc:docMk/>
            <pc:sldMk cId="1034607313" sldId="2146847359"/>
            <ac:spMk id="4" creationId="{B38B14AF-B49F-41F5-8E26-05096D2E63C3}"/>
          </ac:spMkLst>
        </pc:spChg>
        <pc:spChg chg="mod">
          <ac:chgData name="Yadav, Ashvarya" userId="3430548f-4128-4c63-a4e9-0ac978b97e91" providerId="ADAL" clId="{542468FF-6B3B-41B8-8E15-A556316D2AC1}" dt="2021-07-21T13:42:15.706" v="661" actId="20577"/>
          <ac:spMkLst>
            <pc:docMk/>
            <pc:sldMk cId="1034607313" sldId="2146847359"/>
            <ac:spMk id="14" creationId="{6F3ED25A-9896-452C-8C21-9F976DADFDEA}"/>
          </ac:spMkLst>
        </pc:spChg>
        <pc:spChg chg="mod">
          <ac:chgData name="Yadav, Ashvarya" userId="3430548f-4128-4c63-a4e9-0ac978b97e91" providerId="ADAL" clId="{542468FF-6B3B-41B8-8E15-A556316D2AC1}" dt="2021-07-21T13:42:32.871" v="669" actId="20577"/>
          <ac:spMkLst>
            <pc:docMk/>
            <pc:sldMk cId="1034607313" sldId="2146847359"/>
            <ac:spMk id="15" creationId="{CC35E55A-724C-4FA3-B171-94C3EBB98D6E}"/>
          </ac:spMkLst>
        </pc:spChg>
        <pc:spChg chg="mod">
          <ac:chgData name="Yadav, Ashvarya" userId="3430548f-4128-4c63-a4e9-0ac978b97e91" providerId="ADAL" clId="{542468FF-6B3B-41B8-8E15-A556316D2AC1}" dt="2021-07-21T13:42:29.640" v="667" actId="20577"/>
          <ac:spMkLst>
            <pc:docMk/>
            <pc:sldMk cId="1034607313" sldId="2146847359"/>
            <ac:spMk id="16" creationId="{4F9844E8-327C-4E86-8D38-9969CABC709C}"/>
          </ac:spMkLst>
        </pc:spChg>
        <pc:spChg chg="mod">
          <ac:chgData name="Yadav, Ashvarya" userId="3430548f-4128-4c63-a4e9-0ac978b97e91" providerId="ADAL" clId="{542468FF-6B3B-41B8-8E15-A556316D2AC1}" dt="2021-07-21T13:42:23.393" v="665" actId="20577"/>
          <ac:spMkLst>
            <pc:docMk/>
            <pc:sldMk cId="1034607313" sldId="2146847359"/>
            <ac:spMk id="20" creationId="{6B2CA343-AE74-4304-86A2-63B4DF6C3152}"/>
          </ac:spMkLst>
        </pc:spChg>
        <pc:spChg chg="mod">
          <ac:chgData name="Yadav, Ashvarya" userId="3430548f-4128-4c63-a4e9-0ac978b97e91" providerId="ADAL" clId="{542468FF-6B3B-41B8-8E15-A556316D2AC1}" dt="2021-07-21T13:42:19.192" v="663" actId="20577"/>
          <ac:spMkLst>
            <pc:docMk/>
            <pc:sldMk cId="1034607313" sldId="2146847359"/>
            <ac:spMk id="21" creationId="{68E411F6-8005-4374-B3C0-7DF439E77D19}"/>
          </ac:spMkLst>
        </pc:spChg>
        <pc:spChg chg="mod">
          <ac:chgData name="Yadav, Ashvarya" userId="3430548f-4128-4c63-a4e9-0ac978b97e91" providerId="ADAL" clId="{542468FF-6B3B-41B8-8E15-A556316D2AC1}" dt="2021-07-21T13:42:41.122" v="671" actId="20577"/>
          <ac:spMkLst>
            <pc:docMk/>
            <pc:sldMk cId="1034607313" sldId="2146847359"/>
            <ac:spMk id="22" creationId="{7E38634C-257D-4BD8-8975-F626596F982F}"/>
          </ac:spMkLst>
        </pc:spChg>
        <pc:spChg chg="mod">
          <ac:chgData name="Yadav, Ashvarya" userId="3430548f-4128-4c63-a4e9-0ac978b97e91" providerId="ADAL" clId="{542468FF-6B3B-41B8-8E15-A556316D2AC1}" dt="2021-07-21T13:42:44.652" v="673" actId="20577"/>
          <ac:spMkLst>
            <pc:docMk/>
            <pc:sldMk cId="1034607313" sldId="2146847359"/>
            <ac:spMk id="23" creationId="{DB8FD996-57D1-4480-9BD3-9CD0B69FDB01}"/>
          </ac:spMkLst>
        </pc:spChg>
        <pc:graphicFrameChg chg="add mod modGraphic">
          <ac:chgData name="Yadav, Ashvarya" userId="3430548f-4128-4c63-a4e9-0ac978b97e91" providerId="ADAL" clId="{542468FF-6B3B-41B8-8E15-A556316D2AC1}" dt="2021-07-21T13:41:58.657" v="656" actId="20577"/>
          <ac:graphicFrameMkLst>
            <pc:docMk/>
            <pc:sldMk cId="1034607313" sldId="2146847359"/>
            <ac:graphicFrameMk id="13" creationId="{EF4E6203-351F-4545-9762-51AB7EA7021F}"/>
          </ac:graphicFrameMkLst>
        </pc:graphicFrameChg>
      </pc:sldChg>
      <pc:sldChg chg="delSp del mod">
        <pc:chgData name="Yadav, Ashvarya" userId="3430548f-4128-4c63-a4e9-0ac978b97e91" providerId="ADAL" clId="{542468FF-6B3B-41B8-8E15-A556316D2AC1}" dt="2021-07-21T10:31:41.994" v="40" actId="47"/>
        <pc:sldMkLst>
          <pc:docMk/>
          <pc:sldMk cId="739753118" sldId="2146847360"/>
        </pc:sldMkLst>
        <pc:graphicFrameChg chg="del">
          <ac:chgData name="Yadav, Ashvarya" userId="3430548f-4128-4c63-a4e9-0ac978b97e91" providerId="ADAL" clId="{542468FF-6B3B-41B8-8E15-A556316D2AC1}" dt="2021-07-21T10:31:13.819" v="0" actId="21"/>
          <ac:graphicFrameMkLst>
            <pc:docMk/>
            <pc:sldMk cId="739753118" sldId="2146847360"/>
            <ac:graphicFrameMk id="7" creationId="{B4FCA0E6-A61B-4F11-B829-B9D15136B06B}"/>
          </ac:graphicFrameMkLst>
        </pc:graphicFrameChg>
      </pc:sldChg>
      <pc:sldChg chg="addSp modSp mod ord">
        <pc:chgData name="Yadav, Ashvarya" userId="3430548f-4128-4c63-a4e9-0ac978b97e91" providerId="ADAL" clId="{542468FF-6B3B-41B8-8E15-A556316D2AC1}" dt="2021-07-21T13:46:54.623" v="808" actId="20577"/>
        <pc:sldMkLst>
          <pc:docMk/>
          <pc:sldMk cId="285039437" sldId="2146847361"/>
        </pc:sldMkLst>
        <pc:spChg chg="mod">
          <ac:chgData name="Yadav, Ashvarya" userId="3430548f-4128-4c63-a4e9-0ac978b97e91" providerId="ADAL" clId="{542468FF-6B3B-41B8-8E15-A556316D2AC1}" dt="2021-07-21T13:46:16.194" v="788" actId="20577"/>
          <ac:spMkLst>
            <pc:docMk/>
            <pc:sldMk cId="285039437" sldId="2146847361"/>
            <ac:spMk id="2" creationId="{98DEF4BE-89FE-4B38-9249-A50705FB9524}"/>
          </ac:spMkLst>
        </pc:spChg>
        <pc:spChg chg="mod">
          <ac:chgData name="Yadav, Ashvarya" userId="3430548f-4128-4c63-a4e9-0ac978b97e91" providerId="ADAL" clId="{542468FF-6B3B-41B8-8E15-A556316D2AC1}" dt="2021-07-21T13:46:51.538" v="807" actId="20577"/>
          <ac:spMkLst>
            <pc:docMk/>
            <pc:sldMk cId="285039437" sldId="2146847361"/>
            <ac:spMk id="4" creationId="{B38B14AF-B49F-41F5-8E26-05096D2E63C3}"/>
          </ac:spMkLst>
        </pc:spChg>
        <pc:graphicFrameChg chg="add mod modGraphic">
          <ac:chgData name="Yadav, Ashvarya" userId="3430548f-4128-4c63-a4e9-0ac978b97e91" providerId="ADAL" clId="{542468FF-6B3B-41B8-8E15-A556316D2AC1}" dt="2021-07-21T13:46:54.623" v="808" actId="20577"/>
          <ac:graphicFrameMkLst>
            <pc:docMk/>
            <pc:sldMk cId="285039437" sldId="2146847361"/>
            <ac:graphicFrameMk id="12" creationId="{18069194-4058-49E6-BA4C-7954C0646E61}"/>
          </ac:graphicFrameMkLst>
        </pc:graphicFrameChg>
      </pc:sldChg>
      <pc:sldChg chg="addSp delSp modSp add mod">
        <pc:chgData name="Yadav, Ashvarya" userId="3430548f-4128-4c63-a4e9-0ac978b97e91" providerId="ADAL" clId="{542468FF-6B3B-41B8-8E15-A556316D2AC1}" dt="2021-07-21T13:45:56.040" v="786" actId="6549"/>
        <pc:sldMkLst>
          <pc:docMk/>
          <pc:sldMk cId="314092815" sldId="2146847362"/>
        </pc:sldMkLst>
        <pc:spChg chg="mod">
          <ac:chgData name="Yadav, Ashvarya" userId="3430548f-4128-4c63-a4e9-0ac978b97e91" providerId="ADAL" clId="{542468FF-6B3B-41B8-8E15-A556316D2AC1}" dt="2021-07-21T13:43:16.366" v="690" actId="20577"/>
          <ac:spMkLst>
            <pc:docMk/>
            <pc:sldMk cId="314092815" sldId="2146847362"/>
            <ac:spMk id="4" creationId="{B38B14AF-B49F-41F5-8E26-05096D2E63C3}"/>
          </ac:spMkLst>
        </pc:spChg>
        <pc:spChg chg="del">
          <ac:chgData name="Yadav, Ashvarya" userId="3430548f-4128-4c63-a4e9-0ac978b97e91" providerId="ADAL" clId="{542468FF-6B3B-41B8-8E15-A556316D2AC1}" dt="2021-07-21T13:44:19.512" v="691" actId="478"/>
          <ac:spMkLst>
            <pc:docMk/>
            <pc:sldMk cId="314092815" sldId="2146847362"/>
            <ac:spMk id="12" creationId="{48E3358D-D055-4024-9AF1-D9A49617964B}"/>
          </ac:spMkLst>
        </pc:spChg>
        <pc:spChg chg="del">
          <ac:chgData name="Yadav, Ashvarya" userId="3430548f-4128-4c63-a4e9-0ac978b97e91" providerId="ADAL" clId="{542468FF-6B3B-41B8-8E15-A556316D2AC1}" dt="2021-07-21T13:44:19.512" v="691" actId="478"/>
          <ac:spMkLst>
            <pc:docMk/>
            <pc:sldMk cId="314092815" sldId="2146847362"/>
            <ac:spMk id="14" creationId="{6F3ED25A-9896-452C-8C21-9F976DADFDEA}"/>
          </ac:spMkLst>
        </pc:spChg>
        <pc:spChg chg="del">
          <ac:chgData name="Yadav, Ashvarya" userId="3430548f-4128-4c63-a4e9-0ac978b97e91" providerId="ADAL" clId="{542468FF-6B3B-41B8-8E15-A556316D2AC1}" dt="2021-07-21T13:44:19.512" v="691" actId="478"/>
          <ac:spMkLst>
            <pc:docMk/>
            <pc:sldMk cId="314092815" sldId="2146847362"/>
            <ac:spMk id="15" creationId="{CC35E55A-724C-4FA3-B171-94C3EBB98D6E}"/>
          </ac:spMkLst>
        </pc:spChg>
        <pc:spChg chg="del">
          <ac:chgData name="Yadav, Ashvarya" userId="3430548f-4128-4c63-a4e9-0ac978b97e91" providerId="ADAL" clId="{542468FF-6B3B-41B8-8E15-A556316D2AC1}" dt="2021-07-21T13:44:19.512" v="691" actId="478"/>
          <ac:spMkLst>
            <pc:docMk/>
            <pc:sldMk cId="314092815" sldId="2146847362"/>
            <ac:spMk id="16" creationId="{4F9844E8-327C-4E86-8D38-9969CABC709C}"/>
          </ac:spMkLst>
        </pc:spChg>
        <pc:spChg chg="add mod">
          <ac:chgData name="Yadav, Ashvarya" userId="3430548f-4128-4c63-a4e9-0ac978b97e91" providerId="ADAL" clId="{542468FF-6B3B-41B8-8E15-A556316D2AC1}" dt="2021-07-21T13:44:26.817" v="693" actId="1076"/>
          <ac:spMkLst>
            <pc:docMk/>
            <pc:sldMk cId="314092815" sldId="2146847362"/>
            <ac:spMk id="17" creationId="{C2476E29-A3B5-4856-809E-CC924F0C208C}"/>
          </ac:spMkLst>
        </pc:spChg>
        <pc:spChg chg="add mod">
          <ac:chgData name="Yadav, Ashvarya" userId="3430548f-4128-4c63-a4e9-0ac978b97e91" providerId="ADAL" clId="{542468FF-6B3B-41B8-8E15-A556316D2AC1}" dt="2021-07-21T13:44:43.881" v="719" actId="1035"/>
          <ac:spMkLst>
            <pc:docMk/>
            <pc:sldMk cId="314092815" sldId="2146847362"/>
            <ac:spMk id="18" creationId="{A8E97DB0-4E7D-448D-B378-D2065346730D}"/>
          </ac:spMkLst>
        </pc:spChg>
        <pc:spChg chg="add del mod">
          <ac:chgData name="Yadav, Ashvarya" userId="3430548f-4128-4c63-a4e9-0ac978b97e91" providerId="ADAL" clId="{542468FF-6B3B-41B8-8E15-A556316D2AC1}" dt="2021-07-21T13:44:39.176" v="711" actId="478"/>
          <ac:spMkLst>
            <pc:docMk/>
            <pc:sldMk cId="314092815" sldId="2146847362"/>
            <ac:spMk id="19" creationId="{548D6147-8D3C-4CDC-B4AE-4EA3E1FBAD60}"/>
          </ac:spMkLst>
        </pc:spChg>
        <pc:spChg chg="del">
          <ac:chgData name="Yadav, Ashvarya" userId="3430548f-4128-4c63-a4e9-0ac978b97e91" providerId="ADAL" clId="{542468FF-6B3B-41B8-8E15-A556316D2AC1}" dt="2021-07-21T13:44:19.512" v="691" actId="478"/>
          <ac:spMkLst>
            <pc:docMk/>
            <pc:sldMk cId="314092815" sldId="2146847362"/>
            <ac:spMk id="20" creationId="{6B2CA343-AE74-4304-86A2-63B4DF6C3152}"/>
          </ac:spMkLst>
        </pc:spChg>
        <pc:spChg chg="del">
          <ac:chgData name="Yadav, Ashvarya" userId="3430548f-4128-4c63-a4e9-0ac978b97e91" providerId="ADAL" clId="{542468FF-6B3B-41B8-8E15-A556316D2AC1}" dt="2021-07-21T13:44:19.512" v="691" actId="478"/>
          <ac:spMkLst>
            <pc:docMk/>
            <pc:sldMk cId="314092815" sldId="2146847362"/>
            <ac:spMk id="21" creationId="{68E411F6-8005-4374-B3C0-7DF439E77D19}"/>
          </ac:spMkLst>
        </pc:spChg>
        <pc:spChg chg="del">
          <ac:chgData name="Yadav, Ashvarya" userId="3430548f-4128-4c63-a4e9-0ac978b97e91" providerId="ADAL" clId="{542468FF-6B3B-41B8-8E15-A556316D2AC1}" dt="2021-07-21T13:44:19.512" v="691" actId="478"/>
          <ac:spMkLst>
            <pc:docMk/>
            <pc:sldMk cId="314092815" sldId="2146847362"/>
            <ac:spMk id="22" creationId="{7E38634C-257D-4BD8-8975-F626596F982F}"/>
          </ac:spMkLst>
        </pc:spChg>
        <pc:spChg chg="del">
          <ac:chgData name="Yadav, Ashvarya" userId="3430548f-4128-4c63-a4e9-0ac978b97e91" providerId="ADAL" clId="{542468FF-6B3B-41B8-8E15-A556316D2AC1}" dt="2021-07-21T13:44:19.512" v="691" actId="478"/>
          <ac:spMkLst>
            <pc:docMk/>
            <pc:sldMk cId="314092815" sldId="2146847362"/>
            <ac:spMk id="23" creationId="{DB8FD996-57D1-4480-9BD3-9CD0B69FDB01}"/>
          </ac:spMkLst>
        </pc:spChg>
        <pc:spChg chg="add mod">
          <ac:chgData name="Yadav, Ashvarya" userId="3430548f-4128-4c63-a4e9-0ac978b97e91" providerId="ADAL" clId="{542468FF-6B3B-41B8-8E15-A556316D2AC1}" dt="2021-07-21T13:44:43.881" v="719" actId="1035"/>
          <ac:spMkLst>
            <pc:docMk/>
            <pc:sldMk cId="314092815" sldId="2146847362"/>
            <ac:spMk id="24" creationId="{DF7DF338-6A17-4FBE-A88E-A5AC9ABA0932}"/>
          </ac:spMkLst>
        </pc:spChg>
        <pc:spChg chg="add mod">
          <ac:chgData name="Yadav, Ashvarya" userId="3430548f-4128-4c63-a4e9-0ac978b97e91" providerId="ADAL" clId="{542468FF-6B3B-41B8-8E15-A556316D2AC1}" dt="2021-07-21T13:44:43.881" v="719" actId="1035"/>
          <ac:spMkLst>
            <pc:docMk/>
            <pc:sldMk cId="314092815" sldId="2146847362"/>
            <ac:spMk id="25" creationId="{D467BEF0-1694-47B8-8223-995FC5E6A55D}"/>
          </ac:spMkLst>
        </pc:spChg>
        <pc:spChg chg="add mod">
          <ac:chgData name="Yadav, Ashvarya" userId="3430548f-4128-4c63-a4e9-0ac978b97e91" providerId="ADAL" clId="{542468FF-6B3B-41B8-8E15-A556316D2AC1}" dt="2021-07-21T13:44:43.881" v="719" actId="1035"/>
          <ac:spMkLst>
            <pc:docMk/>
            <pc:sldMk cId="314092815" sldId="2146847362"/>
            <ac:spMk id="26" creationId="{14761FB1-ACDE-498E-B618-8904CDAA238F}"/>
          </ac:spMkLst>
        </pc:spChg>
        <pc:spChg chg="add mod">
          <ac:chgData name="Yadav, Ashvarya" userId="3430548f-4128-4c63-a4e9-0ac978b97e91" providerId="ADAL" clId="{542468FF-6B3B-41B8-8E15-A556316D2AC1}" dt="2021-07-21T13:44:43.881" v="719" actId="1035"/>
          <ac:spMkLst>
            <pc:docMk/>
            <pc:sldMk cId="314092815" sldId="2146847362"/>
            <ac:spMk id="27" creationId="{97DE1FEF-26BE-4A97-9B8C-274BD914498B}"/>
          </ac:spMkLst>
        </pc:spChg>
        <pc:spChg chg="add mod">
          <ac:chgData name="Yadav, Ashvarya" userId="3430548f-4128-4c63-a4e9-0ac978b97e91" providerId="ADAL" clId="{542468FF-6B3B-41B8-8E15-A556316D2AC1}" dt="2021-07-21T13:44:43.881" v="719" actId="1035"/>
          <ac:spMkLst>
            <pc:docMk/>
            <pc:sldMk cId="314092815" sldId="2146847362"/>
            <ac:spMk id="28" creationId="{AB0E60A1-A82C-438C-8693-214C80F890D2}"/>
          </ac:spMkLst>
        </pc:spChg>
        <pc:spChg chg="add mod">
          <ac:chgData name="Yadav, Ashvarya" userId="3430548f-4128-4c63-a4e9-0ac978b97e91" providerId="ADAL" clId="{542468FF-6B3B-41B8-8E15-A556316D2AC1}" dt="2021-07-21T13:44:43.881" v="719" actId="1035"/>
          <ac:spMkLst>
            <pc:docMk/>
            <pc:sldMk cId="314092815" sldId="2146847362"/>
            <ac:spMk id="29" creationId="{BB8CDF1C-C4F7-4884-865B-8CB0AE48D96B}"/>
          </ac:spMkLst>
        </pc:spChg>
        <pc:spChg chg="add mod">
          <ac:chgData name="Yadav, Ashvarya" userId="3430548f-4128-4c63-a4e9-0ac978b97e91" providerId="ADAL" clId="{542468FF-6B3B-41B8-8E15-A556316D2AC1}" dt="2021-07-21T13:44:43.881" v="719" actId="1035"/>
          <ac:spMkLst>
            <pc:docMk/>
            <pc:sldMk cId="314092815" sldId="2146847362"/>
            <ac:spMk id="30" creationId="{FB08BD77-DACB-430B-A5E7-5D422DE5E73B}"/>
          </ac:spMkLst>
        </pc:spChg>
        <pc:spChg chg="add mod">
          <ac:chgData name="Yadav, Ashvarya" userId="3430548f-4128-4c63-a4e9-0ac978b97e91" providerId="ADAL" clId="{542468FF-6B3B-41B8-8E15-A556316D2AC1}" dt="2021-07-21T13:44:43.881" v="719" actId="1035"/>
          <ac:spMkLst>
            <pc:docMk/>
            <pc:sldMk cId="314092815" sldId="2146847362"/>
            <ac:spMk id="31" creationId="{3B2109E3-3277-4D6C-B15D-F4BBB8DF1C50}"/>
          </ac:spMkLst>
        </pc:spChg>
        <pc:spChg chg="add mod">
          <ac:chgData name="Yadav, Ashvarya" userId="3430548f-4128-4c63-a4e9-0ac978b97e91" providerId="ADAL" clId="{542468FF-6B3B-41B8-8E15-A556316D2AC1}" dt="2021-07-21T13:44:43.881" v="719" actId="1035"/>
          <ac:spMkLst>
            <pc:docMk/>
            <pc:sldMk cId="314092815" sldId="2146847362"/>
            <ac:spMk id="32" creationId="{5D0667C6-9EC9-4615-BC93-C2B905014950}"/>
          </ac:spMkLst>
        </pc:spChg>
        <pc:spChg chg="add mod">
          <ac:chgData name="Yadav, Ashvarya" userId="3430548f-4128-4c63-a4e9-0ac978b97e91" providerId="ADAL" clId="{542468FF-6B3B-41B8-8E15-A556316D2AC1}" dt="2021-07-21T13:44:43.881" v="719" actId="1035"/>
          <ac:spMkLst>
            <pc:docMk/>
            <pc:sldMk cId="314092815" sldId="2146847362"/>
            <ac:spMk id="33" creationId="{B16AAC51-48D8-47EF-9023-391C8C4A21E9}"/>
          </ac:spMkLst>
        </pc:spChg>
        <pc:spChg chg="add mod">
          <ac:chgData name="Yadav, Ashvarya" userId="3430548f-4128-4c63-a4e9-0ac978b97e91" providerId="ADAL" clId="{542468FF-6B3B-41B8-8E15-A556316D2AC1}" dt="2021-07-21T13:44:43.881" v="719" actId="1035"/>
          <ac:spMkLst>
            <pc:docMk/>
            <pc:sldMk cId="314092815" sldId="2146847362"/>
            <ac:spMk id="34" creationId="{703C3956-34CE-4086-BD67-4BD4D619ABB0}"/>
          </ac:spMkLst>
        </pc:spChg>
        <pc:spChg chg="add mod">
          <ac:chgData name="Yadav, Ashvarya" userId="3430548f-4128-4c63-a4e9-0ac978b97e91" providerId="ADAL" clId="{542468FF-6B3B-41B8-8E15-A556316D2AC1}" dt="2021-07-21T13:44:43.881" v="719" actId="1035"/>
          <ac:spMkLst>
            <pc:docMk/>
            <pc:sldMk cId="314092815" sldId="2146847362"/>
            <ac:spMk id="35" creationId="{0D21E60A-7854-45F4-A3C8-BE368106853F}"/>
          </ac:spMkLst>
        </pc:spChg>
        <pc:graphicFrameChg chg="mod modGraphic">
          <ac:chgData name="Yadav, Ashvarya" userId="3430548f-4128-4c63-a4e9-0ac978b97e91" providerId="ADAL" clId="{542468FF-6B3B-41B8-8E15-A556316D2AC1}" dt="2021-07-21T13:45:56.040" v="786" actId="6549"/>
          <ac:graphicFrameMkLst>
            <pc:docMk/>
            <pc:sldMk cId="314092815" sldId="2146847362"/>
            <ac:graphicFrameMk id="13" creationId="{EF4E6203-351F-4545-9762-51AB7EA7021F}"/>
          </ac:graphicFrameMkLst>
        </pc:graphicFrameChg>
      </pc:sldChg>
    </pc:docChg>
  </pc:docChgLst>
  <pc:docChgLst>
    <pc:chgData name="Atkar, Devyani Anil" userId="30060140-18fd-4dc5-aee4-f2420943b387" providerId="ADAL" clId="{3E38071E-EE29-44FA-BB4F-47968E6BE941}"/>
    <pc:docChg chg="undo custSel delSld modSld sldOrd modSection">
      <pc:chgData name="Atkar, Devyani Anil" userId="30060140-18fd-4dc5-aee4-f2420943b387" providerId="ADAL" clId="{3E38071E-EE29-44FA-BB4F-47968E6BE941}" dt="2021-09-01T07:05:58.733" v="396" actId="20577"/>
      <pc:docMkLst>
        <pc:docMk/>
      </pc:docMkLst>
      <pc:sldChg chg="del">
        <pc:chgData name="Atkar, Devyani Anil" userId="30060140-18fd-4dc5-aee4-f2420943b387" providerId="ADAL" clId="{3E38071E-EE29-44FA-BB4F-47968E6BE941}" dt="2021-08-24T10:24:26.796" v="47" actId="47"/>
        <pc:sldMkLst>
          <pc:docMk/>
          <pc:sldMk cId="1470359419" sldId="262"/>
        </pc:sldMkLst>
      </pc:sldChg>
      <pc:sldChg chg="del">
        <pc:chgData name="Atkar, Devyani Anil" userId="30060140-18fd-4dc5-aee4-f2420943b387" providerId="ADAL" clId="{3E38071E-EE29-44FA-BB4F-47968E6BE941}" dt="2021-08-24T10:24:27.904" v="48" actId="47"/>
        <pc:sldMkLst>
          <pc:docMk/>
          <pc:sldMk cId="4007233622" sldId="264"/>
        </pc:sldMkLst>
      </pc:sldChg>
      <pc:sldChg chg="addSp delSp modSp mod">
        <pc:chgData name="Atkar, Devyani Anil" userId="30060140-18fd-4dc5-aee4-f2420943b387" providerId="ADAL" clId="{3E38071E-EE29-44FA-BB4F-47968E6BE941}" dt="2021-09-01T06:22:03.663" v="137" actId="1038"/>
        <pc:sldMkLst>
          <pc:docMk/>
          <pc:sldMk cId="2791231828" sldId="2146847318"/>
        </pc:sldMkLst>
        <pc:spChg chg="add mod ord">
          <ac:chgData name="Atkar, Devyani Anil" userId="30060140-18fd-4dc5-aee4-f2420943b387" providerId="ADAL" clId="{3E38071E-EE29-44FA-BB4F-47968E6BE941}" dt="2021-09-01T06:21:55.865" v="104" actId="167"/>
          <ac:spMkLst>
            <pc:docMk/>
            <pc:sldMk cId="2791231828" sldId="2146847318"/>
            <ac:spMk id="21" creationId="{DBCB9C1D-9FC2-4011-AD7F-C60896996F54}"/>
          </ac:spMkLst>
        </pc:spChg>
        <pc:spChg chg="del">
          <ac:chgData name="Atkar, Devyani Anil" userId="30060140-18fd-4dc5-aee4-f2420943b387" providerId="ADAL" clId="{3E38071E-EE29-44FA-BB4F-47968E6BE941}" dt="2021-08-24T10:21:26.715" v="2" actId="478"/>
          <ac:spMkLst>
            <pc:docMk/>
            <pc:sldMk cId="2791231828" sldId="2146847318"/>
            <ac:spMk id="27" creationId="{6E59AFE3-1B15-467A-A50B-000E1189E537}"/>
          </ac:spMkLst>
        </pc:spChg>
        <pc:spChg chg="mod">
          <ac:chgData name="Atkar, Devyani Anil" userId="30060140-18fd-4dc5-aee4-f2420943b387" providerId="ADAL" clId="{3E38071E-EE29-44FA-BB4F-47968E6BE941}" dt="2021-09-01T06:22:03.663" v="137" actId="1038"/>
          <ac:spMkLst>
            <pc:docMk/>
            <pc:sldMk cId="2791231828" sldId="2146847318"/>
            <ac:spMk id="29" creationId="{32779B9E-7C0A-4474-80A3-79F8D2FD1CE6}"/>
          </ac:spMkLst>
        </pc:spChg>
        <pc:spChg chg="mod">
          <ac:chgData name="Atkar, Devyani Anil" userId="30060140-18fd-4dc5-aee4-f2420943b387" providerId="ADAL" clId="{3E38071E-EE29-44FA-BB4F-47968E6BE941}" dt="2021-09-01T06:21:51.162" v="103" actId="1038"/>
          <ac:spMkLst>
            <pc:docMk/>
            <pc:sldMk cId="2791231828" sldId="2146847318"/>
            <ac:spMk id="31" creationId="{F62BD1A7-553F-4657-8B08-F4F6C4386C97}"/>
          </ac:spMkLst>
        </pc:spChg>
        <pc:spChg chg="mod">
          <ac:chgData name="Atkar, Devyani Anil" userId="30060140-18fd-4dc5-aee4-f2420943b387" providerId="ADAL" clId="{3E38071E-EE29-44FA-BB4F-47968E6BE941}" dt="2021-09-01T06:21:51.162" v="103" actId="1038"/>
          <ac:spMkLst>
            <pc:docMk/>
            <pc:sldMk cId="2791231828" sldId="2146847318"/>
            <ac:spMk id="32" creationId="{DAAFD4DA-B241-4C35-ACB8-23C30D971012}"/>
          </ac:spMkLst>
        </pc:spChg>
        <pc:spChg chg="mod">
          <ac:chgData name="Atkar, Devyani Anil" userId="30060140-18fd-4dc5-aee4-f2420943b387" providerId="ADAL" clId="{3E38071E-EE29-44FA-BB4F-47968E6BE941}" dt="2021-09-01T06:21:32.340" v="53" actId="408"/>
          <ac:spMkLst>
            <pc:docMk/>
            <pc:sldMk cId="2791231828" sldId="2146847318"/>
            <ac:spMk id="34" creationId="{9EF06E04-5831-4891-953B-C307B1ADE928}"/>
          </ac:spMkLst>
        </pc:spChg>
        <pc:spChg chg="del mod">
          <ac:chgData name="Atkar, Devyani Anil" userId="30060140-18fd-4dc5-aee4-f2420943b387" providerId="ADAL" clId="{3E38071E-EE29-44FA-BB4F-47968E6BE941}" dt="2021-09-01T06:21:41.253" v="55" actId="478"/>
          <ac:spMkLst>
            <pc:docMk/>
            <pc:sldMk cId="2791231828" sldId="2146847318"/>
            <ac:spMk id="35" creationId="{9F5A9324-3CC7-40A8-A7F8-F2E1813E312E}"/>
          </ac:spMkLst>
        </pc:spChg>
        <pc:spChg chg="mod">
          <ac:chgData name="Atkar, Devyani Anil" userId="30060140-18fd-4dc5-aee4-f2420943b387" providerId="ADAL" clId="{3E38071E-EE29-44FA-BB4F-47968E6BE941}" dt="2021-09-01T06:21:51.162" v="103" actId="1038"/>
          <ac:spMkLst>
            <pc:docMk/>
            <pc:sldMk cId="2791231828" sldId="2146847318"/>
            <ac:spMk id="36" creationId="{2996576F-CD9D-4044-9361-6DE5226FFEDA}"/>
          </ac:spMkLst>
        </pc:spChg>
        <pc:spChg chg="del">
          <ac:chgData name="Atkar, Devyani Anil" userId="30060140-18fd-4dc5-aee4-f2420943b387" providerId="ADAL" clId="{3E38071E-EE29-44FA-BB4F-47968E6BE941}" dt="2021-08-24T10:21:26.715" v="2" actId="478"/>
          <ac:spMkLst>
            <pc:docMk/>
            <pc:sldMk cId="2791231828" sldId="2146847318"/>
            <ac:spMk id="37" creationId="{E0CD0E78-79E8-4568-9EFC-3A1E5E2A609E}"/>
          </ac:spMkLst>
        </pc:spChg>
        <pc:spChg chg="mod">
          <ac:chgData name="Atkar, Devyani Anil" userId="30060140-18fd-4dc5-aee4-f2420943b387" providerId="ADAL" clId="{3E38071E-EE29-44FA-BB4F-47968E6BE941}" dt="2021-09-01T06:22:03.663" v="137" actId="1038"/>
          <ac:spMkLst>
            <pc:docMk/>
            <pc:sldMk cId="2791231828" sldId="2146847318"/>
            <ac:spMk id="41" creationId="{F23D6707-269E-4465-8E6C-2454A2B96E36}"/>
          </ac:spMkLst>
        </pc:spChg>
        <pc:spChg chg="del">
          <ac:chgData name="Atkar, Devyani Anil" userId="30060140-18fd-4dc5-aee4-f2420943b387" providerId="ADAL" clId="{3E38071E-EE29-44FA-BB4F-47968E6BE941}" dt="2021-08-24T10:21:26.715" v="2" actId="478"/>
          <ac:spMkLst>
            <pc:docMk/>
            <pc:sldMk cId="2791231828" sldId="2146847318"/>
            <ac:spMk id="43" creationId="{B70990D7-4D54-4741-9340-2D02EC4FD008}"/>
          </ac:spMkLst>
        </pc:spChg>
        <pc:spChg chg="mod">
          <ac:chgData name="Atkar, Devyani Anil" userId="30060140-18fd-4dc5-aee4-f2420943b387" providerId="ADAL" clId="{3E38071E-EE29-44FA-BB4F-47968E6BE941}" dt="2021-09-01T06:22:03.663" v="137" actId="1038"/>
          <ac:spMkLst>
            <pc:docMk/>
            <pc:sldMk cId="2791231828" sldId="2146847318"/>
            <ac:spMk id="44" creationId="{345C672B-025D-43CB-95F9-6B85942468FB}"/>
          </ac:spMkLst>
        </pc:spChg>
        <pc:spChg chg="del">
          <ac:chgData name="Atkar, Devyani Anil" userId="30060140-18fd-4dc5-aee4-f2420943b387" providerId="ADAL" clId="{3E38071E-EE29-44FA-BB4F-47968E6BE941}" dt="2021-08-24T10:21:26.715" v="2" actId="478"/>
          <ac:spMkLst>
            <pc:docMk/>
            <pc:sldMk cId="2791231828" sldId="2146847318"/>
            <ac:spMk id="46" creationId="{00663942-6FA4-4FB8-9445-40E9EC59F42D}"/>
          </ac:spMkLst>
        </pc:spChg>
        <pc:picChg chg="del">
          <ac:chgData name="Atkar, Devyani Anil" userId="30060140-18fd-4dc5-aee4-f2420943b387" providerId="ADAL" clId="{3E38071E-EE29-44FA-BB4F-47968E6BE941}" dt="2021-08-24T10:21:26.715" v="2" actId="478"/>
          <ac:picMkLst>
            <pc:docMk/>
            <pc:sldMk cId="2791231828" sldId="2146847318"/>
            <ac:picMk id="4" creationId="{89086447-9912-4C32-AA10-2B42EC67FD93}"/>
          </ac:picMkLst>
        </pc:picChg>
        <pc:picChg chg="mod">
          <ac:chgData name="Atkar, Devyani Anil" userId="30060140-18fd-4dc5-aee4-f2420943b387" providerId="ADAL" clId="{3E38071E-EE29-44FA-BB4F-47968E6BE941}" dt="2021-09-01T06:22:03.663" v="137" actId="1038"/>
          <ac:picMkLst>
            <pc:docMk/>
            <pc:sldMk cId="2791231828" sldId="2146847318"/>
            <ac:picMk id="17" creationId="{B416D4C6-3A9C-435E-A779-2CA32526C119}"/>
          </ac:picMkLst>
        </pc:picChg>
        <pc:picChg chg="mod">
          <ac:chgData name="Atkar, Devyani Anil" userId="30060140-18fd-4dc5-aee4-f2420943b387" providerId="ADAL" clId="{3E38071E-EE29-44FA-BB4F-47968E6BE941}" dt="2021-09-01T06:21:51.162" v="103" actId="1038"/>
          <ac:picMkLst>
            <pc:docMk/>
            <pc:sldMk cId="2791231828" sldId="2146847318"/>
            <ac:picMk id="39" creationId="{CBF0BE6E-989D-4A5A-A44F-29FD2EF2F738}"/>
          </ac:picMkLst>
        </pc:picChg>
        <pc:cxnChg chg="del">
          <ac:chgData name="Atkar, Devyani Anil" userId="30060140-18fd-4dc5-aee4-f2420943b387" providerId="ADAL" clId="{3E38071E-EE29-44FA-BB4F-47968E6BE941}" dt="2021-08-24T10:21:26.715" v="2" actId="478"/>
          <ac:cxnSpMkLst>
            <pc:docMk/>
            <pc:sldMk cId="2791231828" sldId="2146847318"/>
            <ac:cxnSpMk id="25" creationId="{2022DAD7-D756-4F0E-8261-CDC3CB253BC2}"/>
          </ac:cxnSpMkLst>
        </pc:cxnChg>
      </pc:sldChg>
      <pc:sldChg chg="delSp modSp mod">
        <pc:chgData name="Atkar, Devyani Anil" userId="30060140-18fd-4dc5-aee4-f2420943b387" providerId="ADAL" clId="{3E38071E-EE29-44FA-BB4F-47968E6BE941}" dt="2021-09-01T06:21:12.544" v="51" actId="1076"/>
        <pc:sldMkLst>
          <pc:docMk/>
          <pc:sldMk cId="1572576930" sldId="2146847330"/>
        </pc:sldMkLst>
        <pc:spChg chg="mod">
          <ac:chgData name="Atkar, Devyani Anil" userId="30060140-18fd-4dc5-aee4-f2420943b387" providerId="ADAL" clId="{3E38071E-EE29-44FA-BB4F-47968E6BE941}" dt="2021-08-24T10:21:38.159" v="41" actId="1038"/>
          <ac:spMkLst>
            <pc:docMk/>
            <pc:sldMk cId="1572576930" sldId="2146847330"/>
            <ac:spMk id="26" creationId="{5036B489-B62C-465F-B746-869D19FF3752}"/>
          </ac:spMkLst>
        </pc:spChg>
        <pc:spChg chg="del">
          <ac:chgData name="Atkar, Devyani Anil" userId="30060140-18fd-4dc5-aee4-f2420943b387" providerId="ADAL" clId="{3E38071E-EE29-44FA-BB4F-47968E6BE941}" dt="2021-08-24T10:21:32.771" v="3" actId="478"/>
          <ac:spMkLst>
            <pc:docMk/>
            <pc:sldMk cId="1572576930" sldId="2146847330"/>
            <ac:spMk id="27" creationId="{6E59AFE3-1B15-467A-A50B-000E1189E537}"/>
          </ac:spMkLst>
        </pc:spChg>
        <pc:spChg chg="mod">
          <ac:chgData name="Atkar, Devyani Anil" userId="30060140-18fd-4dc5-aee4-f2420943b387" providerId="ADAL" clId="{3E38071E-EE29-44FA-BB4F-47968E6BE941}" dt="2021-08-24T10:22:29.981" v="46" actId="408"/>
          <ac:spMkLst>
            <pc:docMk/>
            <pc:sldMk cId="1572576930" sldId="2146847330"/>
            <ac:spMk id="29" creationId="{32779B9E-7C0A-4474-80A3-79F8D2FD1CE6}"/>
          </ac:spMkLst>
        </pc:spChg>
        <pc:spChg chg="mod">
          <ac:chgData name="Atkar, Devyani Anil" userId="30060140-18fd-4dc5-aee4-f2420943b387" providerId="ADAL" clId="{3E38071E-EE29-44FA-BB4F-47968E6BE941}" dt="2021-08-24T10:21:55.987" v="43" actId="408"/>
          <ac:spMkLst>
            <pc:docMk/>
            <pc:sldMk cId="1572576930" sldId="2146847330"/>
            <ac:spMk id="34" creationId="{9EF06E04-5831-4891-953B-C307B1ADE928}"/>
          </ac:spMkLst>
        </pc:spChg>
        <pc:spChg chg="mod">
          <ac:chgData name="Atkar, Devyani Anil" userId="30060140-18fd-4dc5-aee4-f2420943b387" providerId="ADAL" clId="{3E38071E-EE29-44FA-BB4F-47968E6BE941}" dt="2021-09-01T06:21:12.544" v="51" actId="1076"/>
          <ac:spMkLst>
            <pc:docMk/>
            <pc:sldMk cId="1572576930" sldId="2146847330"/>
            <ac:spMk id="35" creationId="{9F5A9324-3CC7-40A8-A7F8-F2E1813E312E}"/>
          </ac:spMkLst>
        </pc:spChg>
        <pc:spChg chg="del">
          <ac:chgData name="Atkar, Devyani Anil" userId="30060140-18fd-4dc5-aee4-f2420943b387" providerId="ADAL" clId="{3E38071E-EE29-44FA-BB4F-47968E6BE941}" dt="2021-08-24T10:21:32.771" v="3" actId="478"/>
          <ac:spMkLst>
            <pc:docMk/>
            <pc:sldMk cId="1572576930" sldId="2146847330"/>
            <ac:spMk id="37" creationId="{E0CD0E78-79E8-4568-9EFC-3A1E5E2A609E}"/>
          </ac:spMkLst>
        </pc:spChg>
        <pc:spChg chg="mod">
          <ac:chgData name="Atkar, Devyani Anil" userId="30060140-18fd-4dc5-aee4-f2420943b387" providerId="ADAL" clId="{3E38071E-EE29-44FA-BB4F-47968E6BE941}" dt="2021-08-24T10:21:47.183" v="42" actId="408"/>
          <ac:spMkLst>
            <pc:docMk/>
            <pc:sldMk cId="1572576930" sldId="2146847330"/>
            <ac:spMk id="41" creationId="{F23D6707-269E-4465-8E6C-2454A2B96E36}"/>
          </ac:spMkLst>
        </pc:spChg>
        <pc:spChg chg="mod">
          <ac:chgData name="Atkar, Devyani Anil" userId="30060140-18fd-4dc5-aee4-f2420943b387" providerId="ADAL" clId="{3E38071E-EE29-44FA-BB4F-47968E6BE941}" dt="2021-08-24T10:21:38.159" v="41" actId="1038"/>
          <ac:spMkLst>
            <pc:docMk/>
            <pc:sldMk cId="1572576930" sldId="2146847330"/>
            <ac:spMk id="42" creationId="{9D33458C-96A6-447A-AD65-A8E56A630158}"/>
          </ac:spMkLst>
        </pc:spChg>
        <pc:spChg chg="del">
          <ac:chgData name="Atkar, Devyani Anil" userId="30060140-18fd-4dc5-aee4-f2420943b387" providerId="ADAL" clId="{3E38071E-EE29-44FA-BB4F-47968E6BE941}" dt="2021-08-24T10:21:32.771" v="3" actId="478"/>
          <ac:spMkLst>
            <pc:docMk/>
            <pc:sldMk cId="1572576930" sldId="2146847330"/>
            <ac:spMk id="43" creationId="{B70990D7-4D54-4741-9340-2D02EC4FD008}"/>
          </ac:spMkLst>
        </pc:spChg>
        <pc:spChg chg="mod">
          <ac:chgData name="Atkar, Devyani Anil" userId="30060140-18fd-4dc5-aee4-f2420943b387" providerId="ADAL" clId="{3E38071E-EE29-44FA-BB4F-47968E6BE941}" dt="2021-08-24T10:22:09.721" v="44" actId="408"/>
          <ac:spMkLst>
            <pc:docMk/>
            <pc:sldMk cId="1572576930" sldId="2146847330"/>
            <ac:spMk id="44" creationId="{345C672B-025D-43CB-95F9-6B85942468FB}"/>
          </ac:spMkLst>
        </pc:spChg>
        <pc:spChg chg="mod">
          <ac:chgData name="Atkar, Devyani Anil" userId="30060140-18fd-4dc5-aee4-f2420943b387" providerId="ADAL" clId="{3E38071E-EE29-44FA-BB4F-47968E6BE941}" dt="2021-08-24T10:21:38.159" v="41" actId="1038"/>
          <ac:spMkLst>
            <pc:docMk/>
            <pc:sldMk cId="1572576930" sldId="2146847330"/>
            <ac:spMk id="45" creationId="{7D07206B-E4E9-4B58-BB6A-5D1044B86308}"/>
          </ac:spMkLst>
        </pc:spChg>
        <pc:spChg chg="del">
          <ac:chgData name="Atkar, Devyani Anil" userId="30060140-18fd-4dc5-aee4-f2420943b387" providerId="ADAL" clId="{3E38071E-EE29-44FA-BB4F-47968E6BE941}" dt="2021-08-24T10:21:32.771" v="3" actId="478"/>
          <ac:spMkLst>
            <pc:docMk/>
            <pc:sldMk cId="1572576930" sldId="2146847330"/>
            <ac:spMk id="46" creationId="{00663942-6FA4-4FB8-9445-40E9EC59F42D}"/>
          </ac:spMkLst>
        </pc:spChg>
        <pc:picChg chg="mod">
          <ac:chgData name="Atkar, Devyani Anil" userId="30060140-18fd-4dc5-aee4-f2420943b387" providerId="ADAL" clId="{3E38071E-EE29-44FA-BB4F-47968E6BE941}" dt="2021-08-24T10:21:38.159" v="41" actId="1038"/>
          <ac:picMkLst>
            <pc:docMk/>
            <pc:sldMk cId="1572576930" sldId="2146847330"/>
            <ac:picMk id="3" creationId="{E8A1BF8E-F4C7-4B9F-A9C1-176FC8B1385F}"/>
          </ac:picMkLst>
        </pc:picChg>
        <pc:picChg chg="del">
          <ac:chgData name="Atkar, Devyani Anil" userId="30060140-18fd-4dc5-aee4-f2420943b387" providerId="ADAL" clId="{3E38071E-EE29-44FA-BB4F-47968E6BE941}" dt="2021-08-24T10:21:32.771" v="3" actId="478"/>
          <ac:picMkLst>
            <pc:docMk/>
            <pc:sldMk cId="1572576930" sldId="2146847330"/>
            <ac:picMk id="4" creationId="{89086447-9912-4C32-AA10-2B42EC67FD93}"/>
          </ac:picMkLst>
        </pc:picChg>
        <pc:picChg chg="mod">
          <ac:chgData name="Atkar, Devyani Anil" userId="30060140-18fd-4dc5-aee4-f2420943b387" providerId="ADAL" clId="{3E38071E-EE29-44FA-BB4F-47968E6BE941}" dt="2021-08-24T10:22:21.055" v="45" actId="408"/>
          <ac:picMkLst>
            <pc:docMk/>
            <pc:sldMk cId="1572576930" sldId="2146847330"/>
            <ac:picMk id="17" creationId="{B416D4C6-3A9C-435E-A779-2CA32526C119}"/>
          </ac:picMkLst>
        </pc:picChg>
        <pc:cxnChg chg="del">
          <ac:chgData name="Atkar, Devyani Anil" userId="30060140-18fd-4dc5-aee4-f2420943b387" providerId="ADAL" clId="{3E38071E-EE29-44FA-BB4F-47968E6BE941}" dt="2021-08-24T10:21:32.771" v="3" actId="478"/>
          <ac:cxnSpMkLst>
            <pc:docMk/>
            <pc:sldMk cId="1572576930" sldId="2146847330"/>
            <ac:cxnSpMk id="6" creationId="{23E77EDE-38A5-4163-AD20-E3C685C568CE}"/>
          </ac:cxnSpMkLst>
        </pc:cxnChg>
      </pc:sldChg>
      <pc:sldChg chg="modNotesTx">
        <pc:chgData name="Atkar, Devyani Anil" userId="30060140-18fd-4dc5-aee4-f2420943b387" providerId="ADAL" clId="{3E38071E-EE29-44FA-BB4F-47968E6BE941}" dt="2021-08-24T10:20:49.190" v="0" actId="255"/>
        <pc:sldMkLst>
          <pc:docMk/>
          <pc:sldMk cId="285039437" sldId="2146847361"/>
        </pc:sldMkLst>
      </pc:sldChg>
      <pc:sldChg chg="modNotesTx">
        <pc:chgData name="Atkar, Devyani Anil" userId="30060140-18fd-4dc5-aee4-f2420943b387" providerId="ADAL" clId="{3E38071E-EE29-44FA-BB4F-47968E6BE941}" dt="2021-08-24T10:21:03.214" v="1" actId="255"/>
        <pc:sldMkLst>
          <pc:docMk/>
          <pc:sldMk cId="314092815" sldId="2146847362"/>
        </pc:sldMkLst>
      </pc:sldChg>
      <pc:sldChg chg="del">
        <pc:chgData name="Atkar, Devyani Anil" userId="30060140-18fd-4dc5-aee4-f2420943b387" providerId="ADAL" clId="{3E38071E-EE29-44FA-BB4F-47968E6BE941}" dt="2021-08-24T10:24:30.552" v="49" actId="47"/>
        <pc:sldMkLst>
          <pc:docMk/>
          <pc:sldMk cId="4006268866" sldId="2146847363"/>
        </pc:sldMkLst>
      </pc:sldChg>
      <pc:sldChg chg="addSp delSp modSp mod">
        <pc:chgData name="Atkar, Devyani Anil" userId="30060140-18fd-4dc5-aee4-f2420943b387" providerId="ADAL" clId="{3E38071E-EE29-44FA-BB4F-47968E6BE941}" dt="2021-09-01T06:28:06.106" v="303" actId="1035"/>
        <pc:sldMkLst>
          <pc:docMk/>
          <pc:sldMk cId="3935458817" sldId="2146847367"/>
        </pc:sldMkLst>
        <pc:spChg chg="mod">
          <ac:chgData name="Atkar, Devyani Anil" userId="30060140-18fd-4dc5-aee4-f2420943b387" providerId="ADAL" clId="{3E38071E-EE29-44FA-BB4F-47968E6BE941}" dt="2021-09-01T06:25:23.034" v="241" actId="20577"/>
          <ac:spMkLst>
            <pc:docMk/>
            <pc:sldMk cId="3935458817" sldId="2146847367"/>
            <ac:spMk id="169" creationId="{15395A1E-77E1-4C11-B434-4A9F0957672A}"/>
          </ac:spMkLst>
        </pc:spChg>
        <pc:spChg chg="mod">
          <ac:chgData name="Atkar, Devyani Anil" userId="30060140-18fd-4dc5-aee4-f2420943b387" providerId="ADAL" clId="{3E38071E-EE29-44FA-BB4F-47968E6BE941}" dt="2021-09-01T06:24:27.784" v="229" actId="1037"/>
          <ac:spMkLst>
            <pc:docMk/>
            <pc:sldMk cId="3935458817" sldId="2146847367"/>
            <ac:spMk id="170" creationId="{E2542F0F-7819-40ED-94D4-4B89A966177D}"/>
          </ac:spMkLst>
        </pc:spChg>
        <pc:spChg chg="mod topLvl">
          <ac:chgData name="Atkar, Devyani Anil" userId="30060140-18fd-4dc5-aee4-f2420943b387" providerId="ADAL" clId="{3E38071E-EE29-44FA-BB4F-47968E6BE941}" dt="2021-09-01T06:25:11.604" v="239" actId="1036"/>
          <ac:spMkLst>
            <pc:docMk/>
            <pc:sldMk cId="3935458817" sldId="2146847367"/>
            <ac:spMk id="178" creationId="{0F933D43-6CF1-4483-93D0-D2D87483FB20}"/>
          </ac:spMkLst>
        </pc:spChg>
        <pc:spChg chg="mod topLvl">
          <ac:chgData name="Atkar, Devyani Anil" userId="30060140-18fd-4dc5-aee4-f2420943b387" providerId="ADAL" clId="{3E38071E-EE29-44FA-BB4F-47968E6BE941}" dt="2021-09-01T06:25:11.604" v="239" actId="1036"/>
          <ac:spMkLst>
            <pc:docMk/>
            <pc:sldMk cId="3935458817" sldId="2146847367"/>
            <ac:spMk id="179" creationId="{627BAD3A-0464-48CF-B769-DFC68AB8CB5F}"/>
          </ac:spMkLst>
        </pc:spChg>
        <pc:spChg chg="mod topLvl">
          <ac:chgData name="Atkar, Devyani Anil" userId="30060140-18fd-4dc5-aee4-f2420943b387" providerId="ADAL" clId="{3E38071E-EE29-44FA-BB4F-47968E6BE941}" dt="2021-09-01T06:25:11.604" v="239" actId="1036"/>
          <ac:spMkLst>
            <pc:docMk/>
            <pc:sldMk cId="3935458817" sldId="2146847367"/>
            <ac:spMk id="181" creationId="{FBDEB3C3-754D-472B-A0EC-15376923EE1D}"/>
          </ac:spMkLst>
        </pc:spChg>
        <pc:spChg chg="mod topLvl">
          <ac:chgData name="Atkar, Devyani Anil" userId="30060140-18fd-4dc5-aee4-f2420943b387" providerId="ADAL" clId="{3E38071E-EE29-44FA-BB4F-47968E6BE941}" dt="2021-09-01T06:25:11.604" v="239" actId="1036"/>
          <ac:spMkLst>
            <pc:docMk/>
            <pc:sldMk cId="3935458817" sldId="2146847367"/>
            <ac:spMk id="182" creationId="{6132B1B7-F58B-48BE-B145-C03440DFC2B0}"/>
          </ac:spMkLst>
        </pc:spChg>
        <pc:spChg chg="mod topLvl">
          <ac:chgData name="Atkar, Devyani Anil" userId="30060140-18fd-4dc5-aee4-f2420943b387" providerId="ADAL" clId="{3E38071E-EE29-44FA-BB4F-47968E6BE941}" dt="2021-09-01T06:25:11.604" v="239" actId="1036"/>
          <ac:spMkLst>
            <pc:docMk/>
            <pc:sldMk cId="3935458817" sldId="2146847367"/>
            <ac:spMk id="183" creationId="{9DEADF87-B730-4403-8583-D9F4F44A6127}"/>
          </ac:spMkLst>
        </pc:spChg>
        <pc:spChg chg="mod topLvl">
          <ac:chgData name="Atkar, Devyani Anil" userId="30060140-18fd-4dc5-aee4-f2420943b387" providerId="ADAL" clId="{3E38071E-EE29-44FA-BB4F-47968E6BE941}" dt="2021-09-01T06:27:47.091" v="285" actId="164"/>
          <ac:spMkLst>
            <pc:docMk/>
            <pc:sldMk cId="3935458817" sldId="2146847367"/>
            <ac:spMk id="189" creationId="{391320DA-82C6-433B-95CF-7D86832C05AC}"/>
          </ac:spMkLst>
        </pc:spChg>
        <pc:spChg chg="mod topLvl">
          <ac:chgData name="Atkar, Devyani Anil" userId="30060140-18fd-4dc5-aee4-f2420943b387" providerId="ADAL" clId="{3E38071E-EE29-44FA-BB4F-47968E6BE941}" dt="2021-09-01T06:25:06.200" v="233" actId="165"/>
          <ac:spMkLst>
            <pc:docMk/>
            <pc:sldMk cId="3935458817" sldId="2146847367"/>
            <ac:spMk id="191" creationId="{463A9683-1BC0-4FA1-B2FC-44D8B6486118}"/>
          </ac:spMkLst>
        </pc:spChg>
        <pc:spChg chg="mod">
          <ac:chgData name="Atkar, Devyani Anil" userId="30060140-18fd-4dc5-aee4-f2420943b387" providerId="ADAL" clId="{3E38071E-EE29-44FA-BB4F-47968E6BE941}" dt="2021-09-01T06:25:26.196" v="243" actId="20577"/>
          <ac:spMkLst>
            <pc:docMk/>
            <pc:sldMk cId="3935458817" sldId="2146847367"/>
            <ac:spMk id="192" creationId="{9326CDCF-D252-4D33-8707-0051C627BB1D}"/>
          </ac:spMkLst>
        </pc:spChg>
        <pc:spChg chg="mod topLvl">
          <ac:chgData name="Atkar, Devyani Anil" userId="30060140-18fd-4dc5-aee4-f2420943b387" providerId="ADAL" clId="{3E38071E-EE29-44FA-BB4F-47968E6BE941}" dt="2021-09-01T06:27:47.091" v="285" actId="164"/>
          <ac:spMkLst>
            <pc:docMk/>
            <pc:sldMk cId="3935458817" sldId="2146847367"/>
            <ac:spMk id="195" creationId="{CE7DD3C6-A8A5-4E93-966F-7E436E8FA0CF}"/>
          </ac:spMkLst>
        </pc:spChg>
        <pc:spChg chg="mod topLvl">
          <ac:chgData name="Atkar, Devyani Anil" userId="30060140-18fd-4dc5-aee4-f2420943b387" providerId="ADAL" clId="{3E38071E-EE29-44FA-BB4F-47968E6BE941}" dt="2021-09-01T06:27:47.091" v="285" actId="164"/>
          <ac:spMkLst>
            <pc:docMk/>
            <pc:sldMk cId="3935458817" sldId="2146847367"/>
            <ac:spMk id="197" creationId="{B6995373-6443-46A4-B64E-66D3E01CC60B}"/>
          </ac:spMkLst>
        </pc:spChg>
        <pc:spChg chg="mod">
          <ac:chgData name="Atkar, Devyani Anil" userId="30060140-18fd-4dc5-aee4-f2420943b387" providerId="ADAL" clId="{3E38071E-EE29-44FA-BB4F-47968E6BE941}" dt="2021-09-01T06:27:58.239" v="289" actId="20577"/>
          <ac:spMkLst>
            <pc:docMk/>
            <pc:sldMk cId="3935458817" sldId="2146847367"/>
            <ac:spMk id="200" creationId="{597AB7C4-D222-41EA-A4D1-3474FD7B02C4}"/>
          </ac:spMkLst>
        </pc:spChg>
        <pc:spChg chg="mod">
          <ac:chgData name="Atkar, Devyani Anil" userId="30060140-18fd-4dc5-aee4-f2420943b387" providerId="ADAL" clId="{3E38071E-EE29-44FA-BB4F-47968E6BE941}" dt="2021-09-01T06:26:49.121" v="272" actId="1076"/>
          <ac:spMkLst>
            <pc:docMk/>
            <pc:sldMk cId="3935458817" sldId="2146847367"/>
            <ac:spMk id="212" creationId="{922A745E-7704-4DA9-B522-04002855C37E}"/>
          </ac:spMkLst>
        </pc:spChg>
        <pc:spChg chg="mod">
          <ac:chgData name="Atkar, Devyani Anil" userId="30060140-18fd-4dc5-aee4-f2420943b387" providerId="ADAL" clId="{3E38071E-EE29-44FA-BB4F-47968E6BE941}" dt="2021-09-01T06:28:06.106" v="303" actId="1035"/>
          <ac:spMkLst>
            <pc:docMk/>
            <pc:sldMk cId="3935458817" sldId="2146847367"/>
            <ac:spMk id="282" creationId="{99A48126-9976-470B-B089-F59183561B7D}"/>
          </ac:spMkLst>
        </pc:spChg>
        <pc:spChg chg="mod">
          <ac:chgData name="Atkar, Devyani Anil" userId="30060140-18fd-4dc5-aee4-f2420943b387" providerId="ADAL" clId="{3E38071E-EE29-44FA-BB4F-47968E6BE941}" dt="2021-09-01T06:28:06.106" v="303" actId="1035"/>
          <ac:spMkLst>
            <pc:docMk/>
            <pc:sldMk cId="3935458817" sldId="2146847367"/>
            <ac:spMk id="286" creationId="{77BA0039-B0B4-4B7E-BA3D-DC6D33CAB86A}"/>
          </ac:spMkLst>
        </pc:spChg>
        <pc:grpChg chg="mod">
          <ac:chgData name="Atkar, Devyani Anil" userId="30060140-18fd-4dc5-aee4-f2420943b387" providerId="ADAL" clId="{3E38071E-EE29-44FA-BB4F-47968E6BE941}" dt="2021-09-01T06:24:27.784" v="229" actId="1037"/>
          <ac:grpSpMkLst>
            <pc:docMk/>
            <pc:sldMk cId="3935458817" sldId="2146847367"/>
            <ac:grpSpMk id="2" creationId="{34D374F3-8E60-4470-A7A4-02E51EF50300}"/>
          </ac:grpSpMkLst>
        </pc:grpChg>
        <pc:grpChg chg="add mod">
          <ac:chgData name="Atkar, Devyani Anil" userId="30060140-18fd-4dc5-aee4-f2420943b387" providerId="ADAL" clId="{3E38071E-EE29-44FA-BB4F-47968E6BE941}" dt="2021-09-01T06:27:47.091" v="285" actId="164"/>
          <ac:grpSpMkLst>
            <pc:docMk/>
            <pc:sldMk cId="3935458817" sldId="2146847367"/>
            <ac:grpSpMk id="3" creationId="{CA7B3BDE-7DD9-4AE6-B9EF-0AD52004D406}"/>
          </ac:grpSpMkLst>
        </pc:grpChg>
        <pc:grpChg chg="del mod">
          <ac:chgData name="Atkar, Devyani Anil" userId="30060140-18fd-4dc5-aee4-f2420943b387" providerId="ADAL" clId="{3E38071E-EE29-44FA-BB4F-47968E6BE941}" dt="2021-09-01T06:23:37.334" v="156" actId="478"/>
          <ac:grpSpMkLst>
            <pc:docMk/>
            <pc:sldMk cId="3935458817" sldId="2146847367"/>
            <ac:grpSpMk id="7" creationId="{E13509C6-EF6F-491C-B8F7-CD025EB08013}"/>
          </ac:grpSpMkLst>
        </pc:grpChg>
        <pc:grpChg chg="del mod">
          <ac:chgData name="Atkar, Devyani Anil" userId="30060140-18fd-4dc5-aee4-f2420943b387" providerId="ADAL" clId="{3E38071E-EE29-44FA-BB4F-47968E6BE941}" dt="2021-09-01T06:26:55.227" v="274" actId="165"/>
          <ac:grpSpMkLst>
            <pc:docMk/>
            <pc:sldMk cId="3935458817" sldId="2146847367"/>
            <ac:grpSpMk id="8" creationId="{A10D06A1-607B-4E4B-BF4D-B89F5010701C}"/>
          </ac:grpSpMkLst>
        </pc:grpChg>
        <pc:grpChg chg="del mod">
          <ac:chgData name="Atkar, Devyani Anil" userId="30060140-18fd-4dc5-aee4-f2420943b387" providerId="ADAL" clId="{3E38071E-EE29-44FA-BB4F-47968E6BE941}" dt="2021-09-01T06:25:06.200" v="233" actId="165"/>
          <ac:grpSpMkLst>
            <pc:docMk/>
            <pc:sldMk cId="3935458817" sldId="2146847367"/>
            <ac:grpSpMk id="9" creationId="{D97DD14E-CD80-43D0-A1FC-B033218F5142}"/>
          </ac:grpSpMkLst>
        </pc:grpChg>
      </pc:sldChg>
      <pc:sldChg chg="modSp mod">
        <pc:chgData name="Atkar, Devyani Anil" userId="30060140-18fd-4dc5-aee4-f2420943b387" providerId="ADAL" clId="{3E38071E-EE29-44FA-BB4F-47968E6BE941}" dt="2021-09-01T07:05:58.733" v="396" actId="20577"/>
        <pc:sldMkLst>
          <pc:docMk/>
          <pc:sldMk cId="1883859609" sldId="2146847370"/>
        </pc:sldMkLst>
        <pc:spChg chg="mod">
          <ac:chgData name="Atkar, Devyani Anil" userId="30060140-18fd-4dc5-aee4-f2420943b387" providerId="ADAL" clId="{3E38071E-EE29-44FA-BB4F-47968E6BE941}" dt="2021-09-01T07:05:58.733" v="396" actId="20577"/>
          <ac:spMkLst>
            <pc:docMk/>
            <pc:sldMk cId="1883859609" sldId="2146847370"/>
            <ac:spMk id="2" creationId="{98DEF4BE-89FE-4B38-9249-A50705FB9524}"/>
          </ac:spMkLst>
        </pc:spChg>
      </pc:sldChg>
      <pc:sldChg chg="modSp mod">
        <pc:chgData name="Atkar, Devyani Anil" userId="30060140-18fd-4dc5-aee4-f2420943b387" providerId="ADAL" clId="{3E38071E-EE29-44FA-BB4F-47968E6BE941}" dt="2021-09-01T06:47:35.616" v="376" actId="20577"/>
        <pc:sldMkLst>
          <pc:docMk/>
          <pc:sldMk cId="1461060297" sldId="2146847375"/>
        </pc:sldMkLst>
        <pc:spChg chg="mod">
          <ac:chgData name="Atkar, Devyani Anil" userId="30060140-18fd-4dc5-aee4-f2420943b387" providerId="ADAL" clId="{3E38071E-EE29-44FA-BB4F-47968E6BE941}" dt="2021-09-01T06:47:35.616" v="376" actId="20577"/>
          <ac:spMkLst>
            <pc:docMk/>
            <pc:sldMk cId="1461060297" sldId="2146847375"/>
            <ac:spMk id="2" creationId="{98DEF4BE-89FE-4B38-9249-A50705FB9524}"/>
          </ac:spMkLst>
        </pc:spChg>
        <pc:spChg chg="mod">
          <ac:chgData name="Atkar, Devyani Anil" userId="30060140-18fd-4dc5-aee4-f2420943b387" providerId="ADAL" clId="{3E38071E-EE29-44FA-BB4F-47968E6BE941}" dt="2021-09-01T06:46:45.965" v="350" actId="20577"/>
          <ac:spMkLst>
            <pc:docMk/>
            <pc:sldMk cId="1461060297" sldId="2146847375"/>
            <ac:spMk id="4" creationId="{B38B14AF-B49F-41F5-8E26-05096D2E63C3}"/>
          </ac:spMkLst>
        </pc:spChg>
        <pc:spChg chg="mod">
          <ac:chgData name="Atkar, Devyani Anil" userId="30060140-18fd-4dc5-aee4-f2420943b387" providerId="ADAL" clId="{3E38071E-EE29-44FA-BB4F-47968E6BE941}" dt="2021-09-01T06:46:51.754" v="354" actId="20577"/>
          <ac:spMkLst>
            <pc:docMk/>
            <pc:sldMk cId="1461060297" sldId="2146847375"/>
            <ac:spMk id="14" creationId="{CC75590A-0B2A-4DC7-8276-6CF0AA6A570B}"/>
          </ac:spMkLst>
        </pc:spChg>
        <pc:spChg chg="mod">
          <ac:chgData name="Atkar, Devyani Anil" userId="30060140-18fd-4dc5-aee4-f2420943b387" providerId="ADAL" clId="{3E38071E-EE29-44FA-BB4F-47968E6BE941}" dt="2021-09-01T06:46:54.332" v="356" actId="20577"/>
          <ac:spMkLst>
            <pc:docMk/>
            <pc:sldMk cId="1461060297" sldId="2146847375"/>
            <ac:spMk id="23" creationId="{1C06B414-FC51-41C8-8FB0-3B8CBF313D11}"/>
          </ac:spMkLst>
        </pc:spChg>
        <pc:spChg chg="mod">
          <ac:chgData name="Atkar, Devyani Anil" userId="30060140-18fd-4dc5-aee4-f2420943b387" providerId="ADAL" clId="{3E38071E-EE29-44FA-BB4F-47968E6BE941}" dt="2021-09-01T06:47:00.324" v="358" actId="20577"/>
          <ac:spMkLst>
            <pc:docMk/>
            <pc:sldMk cId="1461060297" sldId="2146847375"/>
            <ac:spMk id="26" creationId="{4F7FFED5-22BA-47DE-898F-A456A970819E}"/>
          </ac:spMkLst>
        </pc:spChg>
        <pc:graphicFrameChg chg="modGraphic">
          <ac:chgData name="Atkar, Devyani Anil" userId="30060140-18fd-4dc5-aee4-f2420943b387" providerId="ADAL" clId="{3E38071E-EE29-44FA-BB4F-47968E6BE941}" dt="2021-09-01T06:47:14.746" v="366" actId="20577"/>
          <ac:graphicFrameMkLst>
            <pc:docMk/>
            <pc:sldMk cId="1461060297" sldId="2146847375"/>
            <ac:graphicFrameMk id="15" creationId="{24FDDE7B-7BE6-4EFB-AEF1-669B0772DD9F}"/>
          </ac:graphicFrameMkLst>
        </pc:graphicFrameChg>
      </pc:sldChg>
      <pc:sldChg chg="ord">
        <pc:chgData name="Atkar, Devyani Anil" userId="30060140-18fd-4dc5-aee4-f2420943b387" providerId="ADAL" clId="{3E38071E-EE29-44FA-BB4F-47968E6BE941}" dt="2021-09-01T06:28:40.109" v="305"/>
        <pc:sldMkLst>
          <pc:docMk/>
          <pc:sldMk cId="383619685" sldId="2146847379"/>
        </pc:sldMkLst>
      </pc:sldChg>
      <pc:sldChg chg="modSp mod">
        <pc:chgData name="Atkar, Devyani Anil" userId="30060140-18fd-4dc5-aee4-f2420943b387" providerId="ADAL" clId="{3E38071E-EE29-44FA-BB4F-47968E6BE941}" dt="2021-09-01T06:47:39.695" v="378" actId="20577"/>
        <pc:sldMkLst>
          <pc:docMk/>
          <pc:sldMk cId="1964990107" sldId="2146847380"/>
        </pc:sldMkLst>
        <pc:spChg chg="mod">
          <ac:chgData name="Atkar, Devyani Anil" userId="30060140-18fd-4dc5-aee4-f2420943b387" providerId="ADAL" clId="{3E38071E-EE29-44FA-BB4F-47968E6BE941}" dt="2021-09-01T06:47:39.695" v="378" actId="20577"/>
          <ac:spMkLst>
            <pc:docMk/>
            <pc:sldMk cId="1964990107" sldId="2146847380"/>
            <ac:spMk id="2" creationId="{98DEF4BE-89FE-4B38-9249-A50705FB9524}"/>
          </ac:spMkLst>
        </pc:spChg>
        <pc:spChg chg="mod">
          <ac:chgData name="Atkar, Devyani Anil" userId="30060140-18fd-4dc5-aee4-f2420943b387" providerId="ADAL" clId="{3E38071E-EE29-44FA-BB4F-47968E6BE941}" dt="2021-09-01T06:46:30.813" v="344" actId="20577"/>
          <ac:spMkLst>
            <pc:docMk/>
            <pc:sldMk cId="1964990107" sldId="2146847380"/>
            <ac:spMk id="4" creationId="{B38B14AF-B49F-41F5-8E26-05096D2E63C3}"/>
          </ac:spMkLst>
        </pc:spChg>
        <pc:graphicFrameChg chg="mod modGraphic">
          <ac:chgData name="Atkar, Devyani Anil" userId="30060140-18fd-4dc5-aee4-f2420943b387" providerId="ADAL" clId="{3E38071E-EE29-44FA-BB4F-47968E6BE941}" dt="2021-09-01T06:46:40.067" v="348" actId="20577"/>
          <ac:graphicFrameMkLst>
            <pc:docMk/>
            <pc:sldMk cId="1964990107" sldId="2146847380"/>
            <ac:graphicFrameMk id="15" creationId="{24FDDE7B-7BE6-4EFB-AEF1-669B0772DD9F}"/>
          </ac:graphicFrameMkLst>
        </pc:graphicFrameChg>
      </pc:sldChg>
      <pc:sldChg chg="addSp modSp mod">
        <pc:chgData name="Atkar, Devyani Anil" userId="30060140-18fd-4dc5-aee4-f2420943b387" providerId="ADAL" clId="{3E38071E-EE29-44FA-BB4F-47968E6BE941}" dt="2021-09-01T06:48:22.119" v="394" actId="20577"/>
        <pc:sldMkLst>
          <pc:docMk/>
          <pc:sldMk cId="1384751485" sldId="2146847381"/>
        </pc:sldMkLst>
        <pc:spChg chg="mod">
          <ac:chgData name="Atkar, Devyani Anil" userId="30060140-18fd-4dc5-aee4-f2420943b387" providerId="ADAL" clId="{3E38071E-EE29-44FA-BB4F-47968E6BE941}" dt="2021-09-01T06:47:30.506" v="374" actId="20577"/>
          <ac:spMkLst>
            <pc:docMk/>
            <pc:sldMk cId="1384751485" sldId="2146847381"/>
            <ac:spMk id="2" creationId="{98DEF4BE-89FE-4B38-9249-A50705FB9524}"/>
          </ac:spMkLst>
        </pc:spChg>
        <pc:spChg chg="mod">
          <ac:chgData name="Atkar, Devyani Anil" userId="30060140-18fd-4dc5-aee4-f2420943b387" providerId="ADAL" clId="{3E38071E-EE29-44FA-BB4F-47968E6BE941}" dt="2021-09-01T06:47:19.769" v="368" actId="20577"/>
          <ac:spMkLst>
            <pc:docMk/>
            <pc:sldMk cId="1384751485" sldId="2146847381"/>
            <ac:spMk id="4" creationId="{B38B14AF-B49F-41F5-8E26-05096D2E63C3}"/>
          </ac:spMkLst>
        </pc:spChg>
        <pc:spChg chg="add mod">
          <ac:chgData name="Atkar, Devyani Anil" userId="30060140-18fd-4dc5-aee4-f2420943b387" providerId="ADAL" clId="{3E38071E-EE29-44FA-BB4F-47968E6BE941}" dt="2021-09-01T06:48:12.343" v="388" actId="20577"/>
          <ac:spMkLst>
            <pc:docMk/>
            <pc:sldMk cId="1384751485" sldId="2146847381"/>
            <ac:spMk id="9" creationId="{3B64ABD3-ECE6-4275-AB46-5DC912253FFA}"/>
          </ac:spMkLst>
        </pc:spChg>
        <pc:spChg chg="mod">
          <ac:chgData name="Atkar, Devyani Anil" userId="30060140-18fd-4dc5-aee4-f2420943b387" providerId="ADAL" clId="{3E38071E-EE29-44FA-BB4F-47968E6BE941}" dt="2021-09-01T06:29:49.879" v="330" actId="14100"/>
          <ac:spMkLst>
            <pc:docMk/>
            <pc:sldMk cId="1384751485" sldId="2146847381"/>
            <ac:spMk id="13" creationId="{A2A2B339-34D0-4E4C-A64A-1D4F53CF4E1E}"/>
          </ac:spMkLst>
        </pc:spChg>
        <pc:spChg chg="mod">
          <ac:chgData name="Atkar, Devyani Anil" userId="30060140-18fd-4dc5-aee4-f2420943b387" providerId="ADAL" clId="{3E38071E-EE29-44FA-BB4F-47968E6BE941}" dt="2021-09-01T06:48:06.720" v="384" actId="20577"/>
          <ac:spMkLst>
            <pc:docMk/>
            <pc:sldMk cId="1384751485" sldId="2146847381"/>
            <ac:spMk id="14" creationId="{CC75590A-0B2A-4DC7-8276-6CF0AA6A570B}"/>
          </ac:spMkLst>
        </pc:spChg>
        <pc:spChg chg="mod">
          <ac:chgData name="Atkar, Devyani Anil" userId="30060140-18fd-4dc5-aee4-f2420943b387" providerId="ADAL" clId="{3E38071E-EE29-44FA-BB4F-47968E6BE941}" dt="2021-09-01T06:48:10.043" v="386" actId="20577"/>
          <ac:spMkLst>
            <pc:docMk/>
            <pc:sldMk cId="1384751485" sldId="2146847381"/>
            <ac:spMk id="23" creationId="{1C06B414-FC51-41C8-8FB0-3B8CBF313D11}"/>
          </ac:spMkLst>
        </pc:spChg>
        <pc:graphicFrameChg chg="mod modGraphic">
          <ac:chgData name="Atkar, Devyani Anil" userId="30060140-18fd-4dc5-aee4-f2420943b387" providerId="ADAL" clId="{3E38071E-EE29-44FA-BB4F-47968E6BE941}" dt="2021-09-01T06:48:22.119" v="394" actId="20577"/>
          <ac:graphicFrameMkLst>
            <pc:docMk/>
            <pc:sldMk cId="1384751485" sldId="2146847381"/>
            <ac:graphicFrameMk id="15" creationId="{24FDDE7B-7BE6-4EFB-AEF1-669B0772DD9F}"/>
          </ac:graphicFrameMkLst>
        </pc:graphicFrameChg>
      </pc:sldChg>
      <pc:sldChg chg="modSp mod">
        <pc:chgData name="Atkar, Devyani Anil" userId="30060140-18fd-4dc5-aee4-f2420943b387" providerId="ADAL" clId="{3E38071E-EE29-44FA-BB4F-47968E6BE941}" dt="2021-09-01T06:47:43.852" v="380" actId="20577"/>
        <pc:sldMkLst>
          <pc:docMk/>
          <pc:sldMk cId="1569801637" sldId="2146847382"/>
        </pc:sldMkLst>
        <pc:spChg chg="mod">
          <ac:chgData name="Atkar, Devyani Anil" userId="30060140-18fd-4dc5-aee4-f2420943b387" providerId="ADAL" clId="{3E38071E-EE29-44FA-BB4F-47968E6BE941}" dt="2021-09-01T06:47:43.852" v="380" actId="20577"/>
          <ac:spMkLst>
            <pc:docMk/>
            <pc:sldMk cId="1569801637" sldId="2146847382"/>
            <ac:spMk id="2" creationId="{98DEF4BE-89FE-4B38-9249-A50705FB9524}"/>
          </ac:spMkLst>
        </pc:spChg>
        <pc:spChg chg="mod">
          <ac:chgData name="Atkar, Devyani Anil" userId="30060140-18fd-4dc5-aee4-f2420943b387" providerId="ADAL" clId="{3E38071E-EE29-44FA-BB4F-47968E6BE941}" dt="2021-09-01T06:22:36.933" v="154" actId="20577"/>
          <ac:spMkLst>
            <pc:docMk/>
            <pc:sldMk cId="1569801637" sldId="2146847382"/>
            <ac:spMk id="4" creationId="{B38B14AF-B49F-41F5-8E26-05096D2E63C3}"/>
          </ac:spMkLst>
        </pc:spChg>
        <pc:graphicFrameChg chg="modGraphic">
          <ac:chgData name="Atkar, Devyani Anil" userId="30060140-18fd-4dc5-aee4-f2420943b387" providerId="ADAL" clId="{3E38071E-EE29-44FA-BB4F-47968E6BE941}" dt="2021-09-01T06:29:00.730" v="323" actId="20577"/>
          <ac:graphicFrameMkLst>
            <pc:docMk/>
            <pc:sldMk cId="1569801637" sldId="2146847382"/>
            <ac:graphicFrameMk id="15" creationId="{24FDDE7B-7BE6-4EFB-AEF1-669B0772DD9F}"/>
          </ac:graphicFrameMkLst>
        </pc:graphicFrameChg>
      </pc:sldChg>
      <pc:sldMasterChg chg="delSldLayout">
        <pc:chgData name="Atkar, Devyani Anil" userId="30060140-18fd-4dc5-aee4-f2420943b387" providerId="ADAL" clId="{3E38071E-EE29-44FA-BB4F-47968E6BE941}" dt="2021-08-24T10:24:30.552" v="49" actId="47"/>
        <pc:sldMasterMkLst>
          <pc:docMk/>
          <pc:sldMasterMk cId="99584796" sldId="2147483879"/>
        </pc:sldMasterMkLst>
        <pc:sldLayoutChg chg="del">
          <pc:chgData name="Atkar, Devyani Anil" userId="30060140-18fd-4dc5-aee4-f2420943b387" providerId="ADAL" clId="{3E38071E-EE29-44FA-BB4F-47968E6BE941}" dt="2021-08-24T10:24:30.552" v="49" actId="47"/>
          <pc:sldLayoutMkLst>
            <pc:docMk/>
            <pc:sldMasterMk cId="99584796" sldId="2147483879"/>
            <pc:sldLayoutMk cId="4044852617" sldId="2147483956"/>
          </pc:sldLayoutMkLst>
        </pc:sldLayoutChg>
      </pc:sldMasterChg>
    </pc:docChg>
  </pc:docChgLst>
  <pc:docChgLst>
    <pc:chgData name="Ghoshal, Arijit" userId="1fe70a11-147e-4d18-b15b-d5c28d3066f8" providerId="ADAL" clId="{BECBB758-BBBF-4FA2-BED7-ACD6E48E0AC4}"/>
    <pc:docChg chg="undo custSel addSld modSld">
      <pc:chgData name="Ghoshal, Arijit" userId="1fe70a11-147e-4d18-b15b-d5c28d3066f8" providerId="ADAL" clId="{BECBB758-BBBF-4FA2-BED7-ACD6E48E0AC4}" dt="2021-07-24T10:32:49.976" v="1174" actId="20577"/>
      <pc:docMkLst>
        <pc:docMk/>
      </pc:docMkLst>
      <pc:sldChg chg="addSp delSp modSp mod">
        <pc:chgData name="Ghoshal, Arijit" userId="1fe70a11-147e-4d18-b15b-d5c28d3066f8" providerId="ADAL" clId="{BECBB758-BBBF-4FA2-BED7-ACD6E48E0AC4}" dt="2021-07-24T10:24:15.596" v="825" actId="478"/>
        <pc:sldMkLst>
          <pc:docMk/>
          <pc:sldMk cId="4007233622" sldId="264"/>
        </pc:sldMkLst>
        <pc:spChg chg="add del mod">
          <ac:chgData name="Ghoshal, Arijit" userId="1fe70a11-147e-4d18-b15b-d5c28d3066f8" providerId="ADAL" clId="{BECBB758-BBBF-4FA2-BED7-ACD6E48E0AC4}" dt="2021-07-24T10:24:15.596" v="825" actId="478"/>
          <ac:spMkLst>
            <pc:docMk/>
            <pc:sldMk cId="4007233622" sldId="264"/>
            <ac:spMk id="10" creationId="{B8B218EC-E920-4A33-B022-CFD402B2FAF3}"/>
          </ac:spMkLst>
        </pc:spChg>
        <pc:spChg chg="add del mod">
          <ac:chgData name="Ghoshal, Arijit" userId="1fe70a11-147e-4d18-b15b-d5c28d3066f8" providerId="ADAL" clId="{BECBB758-BBBF-4FA2-BED7-ACD6E48E0AC4}" dt="2021-07-24T10:24:12.249" v="824"/>
          <ac:spMkLst>
            <pc:docMk/>
            <pc:sldMk cId="4007233622" sldId="264"/>
            <ac:spMk id="261" creationId="{64A6F9FC-8CE1-451F-995D-41D38A0B839A}"/>
          </ac:spMkLst>
        </pc:spChg>
      </pc:sldChg>
      <pc:sldChg chg="addSp delSp modSp add mod">
        <pc:chgData name="Ghoshal, Arijit" userId="1fe70a11-147e-4d18-b15b-d5c28d3066f8" providerId="ADAL" clId="{BECBB758-BBBF-4FA2-BED7-ACD6E48E0AC4}" dt="2021-07-24T10:32:49.976" v="1174" actId="20577"/>
        <pc:sldMkLst>
          <pc:docMk/>
          <pc:sldMk cId="4006268866" sldId="2146847363"/>
        </pc:sldMkLst>
        <pc:spChg chg="add del mod">
          <ac:chgData name="Ghoshal, Arijit" userId="1fe70a11-147e-4d18-b15b-d5c28d3066f8" providerId="ADAL" clId="{BECBB758-BBBF-4FA2-BED7-ACD6E48E0AC4}" dt="2021-07-24T10:28:21.791" v="989" actId="14100"/>
          <ac:spMkLst>
            <pc:docMk/>
            <pc:sldMk cId="4006268866" sldId="2146847363"/>
            <ac:spMk id="4" creationId="{5DC95A12-10C8-4A05-89E3-5DC3348DE12F}"/>
          </ac:spMkLst>
        </pc:spChg>
        <pc:spChg chg="add del mod">
          <ac:chgData name="Ghoshal, Arijit" userId="1fe70a11-147e-4d18-b15b-d5c28d3066f8" providerId="ADAL" clId="{BECBB758-BBBF-4FA2-BED7-ACD6E48E0AC4}" dt="2021-07-24T10:26:04.082" v="895"/>
          <ac:spMkLst>
            <pc:docMk/>
            <pc:sldMk cId="4006268866" sldId="2146847363"/>
            <ac:spMk id="5" creationId="{A81E827F-EC3A-475C-9641-CCE7E7696F1B}"/>
          </ac:spMkLst>
        </pc:spChg>
        <pc:spChg chg="add del">
          <ac:chgData name="Ghoshal, Arijit" userId="1fe70a11-147e-4d18-b15b-d5c28d3066f8" providerId="ADAL" clId="{BECBB758-BBBF-4FA2-BED7-ACD6E48E0AC4}" dt="2021-07-24T10:25:28.609" v="834" actId="478"/>
          <ac:spMkLst>
            <pc:docMk/>
            <pc:sldMk cId="4006268866" sldId="2146847363"/>
            <ac:spMk id="6" creationId="{5CA26B12-6588-4431-BBF7-177F1593D8F7}"/>
          </ac:spMkLst>
        </pc:spChg>
        <pc:spChg chg="add mod">
          <ac:chgData name="Ghoshal, Arijit" userId="1fe70a11-147e-4d18-b15b-d5c28d3066f8" providerId="ADAL" clId="{BECBB758-BBBF-4FA2-BED7-ACD6E48E0AC4}" dt="2021-07-24T10:32:49.976" v="1174" actId="20577"/>
          <ac:spMkLst>
            <pc:docMk/>
            <pc:sldMk cId="4006268866" sldId="2146847363"/>
            <ac:spMk id="10" creationId="{7C69BCFC-7C94-42B5-BD21-6C69FDB4FB2F}"/>
          </ac:spMkLst>
        </pc:spChg>
        <pc:spChg chg="del">
          <ac:chgData name="Ghoshal, Arijit" userId="1fe70a11-147e-4d18-b15b-d5c28d3066f8" providerId="ADAL" clId="{BECBB758-BBBF-4FA2-BED7-ACD6E48E0AC4}" dt="2021-07-24T10:25:10.424" v="831" actId="478"/>
          <ac:spMkLst>
            <pc:docMk/>
            <pc:sldMk cId="4006268866" sldId="2146847363"/>
            <ac:spMk id="11" creationId="{8BB813FE-4A70-4AFD-8F90-EA66C56AAD3E}"/>
          </ac:spMkLst>
        </pc:spChg>
        <pc:spChg chg="add del">
          <ac:chgData name="Ghoshal, Arijit" userId="1fe70a11-147e-4d18-b15b-d5c28d3066f8" providerId="ADAL" clId="{BECBB758-BBBF-4FA2-BED7-ACD6E48E0AC4}" dt="2021-07-24T10:25:24.327" v="833" actId="478"/>
          <ac:spMkLst>
            <pc:docMk/>
            <pc:sldMk cId="4006268866" sldId="2146847363"/>
            <ac:spMk id="24" creationId="{E7B7384A-AA45-450E-BEF9-27F12BA95FF4}"/>
          </ac:spMkLst>
        </pc:spChg>
        <pc:spChg chg="del">
          <ac:chgData name="Ghoshal, Arijit" userId="1fe70a11-147e-4d18-b15b-d5c28d3066f8" providerId="ADAL" clId="{BECBB758-BBBF-4FA2-BED7-ACD6E48E0AC4}" dt="2021-07-24T10:25:10.424" v="831" actId="478"/>
          <ac:spMkLst>
            <pc:docMk/>
            <pc:sldMk cId="4006268866" sldId="2146847363"/>
            <ac:spMk id="26" creationId="{3B4A3812-BB69-405E-9A84-B36A181701CA}"/>
          </ac:spMkLst>
        </pc:spChg>
        <pc:spChg chg="del">
          <ac:chgData name="Ghoshal, Arijit" userId="1fe70a11-147e-4d18-b15b-d5c28d3066f8" providerId="ADAL" clId="{BECBB758-BBBF-4FA2-BED7-ACD6E48E0AC4}" dt="2021-07-24T10:25:10.424" v="831" actId="478"/>
          <ac:spMkLst>
            <pc:docMk/>
            <pc:sldMk cId="4006268866" sldId="2146847363"/>
            <ac:spMk id="27" creationId="{FB4C14A0-DD3C-48B2-A8E7-7C1E29E349C8}"/>
          </ac:spMkLst>
        </pc:spChg>
        <pc:spChg chg="del">
          <ac:chgData name="Ghoshal, Arijit" userId="1fe70a11-147e-4d18-b15b-d5c28d3066f8" providerId="ADAL" clId="{BECBB758-BBBF-4FA2-BED7-ACD6E48E0AC4}" dt="2021-07-24T10:25:00.545" v="830" actId="478"/>
          <ac:spMkLst>
            <pc:docMk/>
            <pc:sldMk cId="4006268866" sldId="2146847363"/>
            <ac:spMk id="28" creationId="{64DE6394-2EE9-4D9C-979B-E34F2398DEC1}"/>
          </ac:spMkLst>
        </pc:spChg>
        <pc:spChg chg="del mod">
          <ac:chgData name="Ghoshal, Arijit" userId="1fe70a11-147e-4d18-b15b-d5c28d3066f8" providerId="ADAL" clId="{BECBB758-BBBF-4FA2-BED7-ACD6E48E0AC4}" dt="2021-07-24T10:26:40.153" v="908" actId="478"/>
          <ac:spMkLst>
            <pc:docMk/>
            <pc:sldMk cId="4006268866" sldId="2146847363"/>
            <ac:spMk id="35" creationId="{630046BB-317D-43CC-B869-DC44D7F289C4}"/>
          </ac:spMkLst>
        </pc:spChg>
        <pc:spChg chg="del mod">
          <ac:chgData name="Ghoshal, Arijit" userId="1fe70a11-147e-4d18-b15b-d5c28d3066f8" providerId="ADAL" clId="{BECBB758-BBBF-4FA2-BED7-ACD6E48E0AC4}" dt="2021-07-24T10:26:40.153" v="908" actId="478"/>
          <ac:spMkLst>
            <pc:docMk/>
            <pc:sldMk cId="4006268866" sldId="2146847363"/>
            <ac:spMk id="36" creationId="{ED11C3D5-C0B4-4ECC-AF6B-91511BCCFE3E}"/>
          </ac:spMkLst>
        </pc:spChg>
        <pc:spChg chg="del mod">
          <ac:chgData name="Ghoshal, Arijit" userId="1fe70a11-147e-4d18-b15b-d5c28d3066f8" providerId="ADAL" clId="{BECBB758-BBBF-4FA2-BED7-ACD6E48E0AC4}" dt="2021-07-24T10:26:40.153" v="908" actId="478"/>
          <ac:spMkLst>
            <pc:docMk/>
            <pc:sldMk cId="4006268866" sldId="2146847363"/>
            <ac:spMk id="37" creationId="{5661AAD9-ED9E-48A8-8C41-7CB1BC32F96E}"/>
          </ac:spMkLst>
        </pc:spChg>
        <pc:spChg chg="del">
          <ac:chgData name="Ghoshal, Arijit" userId="1fe70a11-147e-4d18-b15b-d5c28d3066f8" providerId="ADAL" clId="{BECBB758-BBBF-4FA2-BED7-ACD6E48E0AC4}" dt="2021-07-24T10:25:10.424" v="831" actId="478"/>
          <ac:spMkLst>
            <pc:docMk/>
            <pc:sldMk cId="4006268866" sldId="2146847363"/>
            <ac:spMk id="45" creationId="{05A4084E-2C1C-466C-BE42-CF704CB3E0F6}"/>
          </ac:spMkLst>
        </pc:spChg>
        <pc:spChg chg="del">
          <ac:chgData name="Ghoshal, Arijit" userId="1fe70a11-147e-4d18-b15b-d5c28d3066f8" providerId="ADAL" clId="{BECBB758-BBBF-4FA2-BED7-ACD6E48E0AC4}" dt="2021-07-24T10:25:10.424" v="831" actId="478"/>
          <ac:spMkLst>
            <pc:docMk/>
            <pc:sldMk cId="4006268866" sldId="2146847363"/>
            <ac:spMk id="46" creationId="{4DE4D8D8-46CD-43D4-9475-40C986DE2A9C}"/>
          </ac:spMkLst>
        </pc:spChg>
        <pc:spChg chg="mod">
          <ac:chgData name="Ghoshal, Arijit" userId="1fe70a11-147e-4d18-b15b-d5c28d3066f8" providerId="ADAL" clId="{BECBB758-BBBF-4FA2-BED7-ACD6E48E0AC4}" dt="2021-07-24T10:26:34.350" v="906" actId="1076"/>
          <ac:spMkLst>
            <pc:docMk/>
            <pc:sldMk cId="4006268866" sldId="2146847363"/>
            <ac:spMk id="53" creationId="{881D3796-DD90-4B9A-B432-98F6AA48159F}"/>
          </ac:spMkLst>
        </pc:spChg>
        <pc:spChg chg="del">
          <ac:chgData name="Ghoshal, Arijit" userId="1fe70a11-147e-4d18-b15b-d5c28d3066f8" providerId="ADAL" clId="{BECBB758-BBBF-4FA2-BED7-ACD6E48E0AC4}" dt="2021-07-24T10:25:10.424" v="831" actId="478"/>
          <ac:spMkLst>
            <pc:docMk/>
            <pc:sldMk cId="4006268866" sldId="2146847363"/>
            <ac:spMk id="56" creationId="{6D5521E5-D33D-425C-BECA-BC30F764E9A7}"/>
          </ac:spMkLst>
        </pc:spChg>
        <pc:spChg chg="del">
          <ac:chgData name="Ghoshal, Arijit" userId="1fe70a11-147e-4d18-b15b-d5c28d3066f8" providerId="ADAL" clId="{BECBB758-BBBF-4FA2-BED7-ACD6E48E0AC4}" dt="2021-07-24T10:25:10.424" v="831" actId="478"/>
          <ac:spMkLst>
            <pc:docMk/>
            <pc:sldMk cId="4006268866" sldId="2146847363"/>
            <ac:spMk id="57" creationId="{E1745D6D-5F7C-41A0-8E28-3F359358E4E1}"/>
          </ac:spMkLst>
        </pc:spChg>
        <pc:spChg chg="del">
          <ac:chgData name="Ghoshal, Arijit" userId="1fe70a11-147e-4d18-b15b-d5c28d3066f8" providerId="ADAL" clId="{BECBB758-BBBF-4FA2-BED7-ACD6E48E0AC4}" dt="2021-07-24T10:25:10.424" v="831" actId="478"/>
          <ac:spMkLst>
            <pc:docMk/>
            <pc:sldMk cId="4006268866" sldId="2146847363"/>
            <ac:spMk id="58" creationId="{3016A907-74A3-42B6-9A57-C534C386136E}"/>
          </ac:spMkLst>
        </pc:spChg>
        <pc:spChg chg="add del">
          <ac:chgData name="Ghoshal, Arijit" userId="1fe70a11-147e-4d18-b15b-d5c28d3066f8" providerId="ADAL" clId="{BECBB758-BBBF-4FA2-BED7-ACD6E48E0AC4}" dt="2021-07-24T10:25:24.327" v="833" actId="478"/>
          <ac:spMkLst>
            <pc:docMk/>
            <pc:sldMk cId="4006268866" sldId="2146847363"/>
            <ac:spMk id="70" creationId="{E0D6D147-3EE4-4B93-98B8-920AF2D0F12C}"/>
          </ac:spMkLst>
        </pc:spChg>
        <pc:spChg chg="add del">
          <ac:chgData name="Ghoshal, Arijit" userId="1fe70a11-147e-4d18-b15b-d5c28d3066f8" providerId="ADAL" clId="{BECBB758-BBBF-4FA2-BED7-ACD6E48E0AC4}" dt="2021-07-24T10:25:24.327" v="833" actId="478"/>
          <ac:spMkLst>
            <pc:docMk/>
            <pc:sldMk cId="4006268866" sldId="2146847363"/>
            <ac:spMk id="71" creationId="{BFDF99BF-6421-4625-9627-607927D4CB12}"/>
          </ac:spMkLst>
        </pc:spChg>
        <pc:spChg chg="add del">
          <ac:chgData name="Ghoshal, Arijit" userId="1fe70a11-147e-4d18-b15b-d5c28d3066f8" providerId="ADAL" clId="{BECBB758-BBBF-4FA2-BED7-ACD6E48E0AC4}" dt="2021-07-24T10:25:24.327" v="833" actId="478"/>
          <ac:spMkLst>
            <pc:docMk/>
            <pc:sldMk cId="4006268866" sldId="2146847363"/>
            <ac:spMk id="72" creationId="{08F4C733-FE06-4711-B907-DD35D42478E5}"/>
          </ac:spMkLst>
        </pc:spChg>
        <pc:spChg chg="add del">
          <ac:chgData name="Ghoshal, Arijit" userId="1fe70a11-147e-4d18-b15b-d5c28d3066f8" providerId="ADAL" clId="{BECBB758-BBBF-4FA2-BED7-ACD6E48E0AC4}" dt="2021-07-24T10:25:24.327" v="833" actId="478"/>
          <ac:spMkLst>
            <pc:docMk/>
            <pc:sldMk cId="4006268866" sldId="2146847363"/>
            <ac:spMk id="73" creationId="{32E8A53D-96E2-489C-A777-5A3306004708}"/>
          </ac:spMkLst>
        </pc:spChg>
        <pc:spChg chg="del mod">
          <ac:chgData name="Ghoshal, Arijit" userId="1fe70a11-147e-4d18-b15b-d5c28d3066f8" providerId="ADAL" clId="{BECBB758-BBBF-4FA2-BED7-ACD6E48E0AC4}" dt="2021-07-24T10:26:40.153" v="908" actId="478"/>
          <ac:spMkLst>
            <pc:docMk/>
            <pc:sldMk cId="4006268866" sldId="2146847363"/>
            <ac:spMk id="76" creationId="{81E6E665-5A81-443A-A98A-7FC3B4193327}"/>
          </ac:spMkLst>
        </pc:spChg>
        <pc:spChg chg="del mod">
          <ac:chgData name="Ghoshal, Arijit" userId="1fe70a11-147e-4d18-b15b-d5c28d3066f8" providerId="ADAL" clId="{BECBB758-BBBF-4FA2-BED7-ACD6E48E0AC4}" dt="2021-07-24T10:26:40.153" v="908" actId="478"/>
          <ac:spMkLst>
            <pc:docMk/>
            <pc:sldMk cId="4006268866" sldId="2146847363"/>
            <ac:spMk id="77" creationId="{AC708543-BE24-4741-9EA0-F6E16ED63B3D}"/>
          </ac:spMkLst>
        </pc:spChg>
        <pc:spChg chg="del mod">
          <ac:chgData name="Ghoshal, Arijit" userId="1fe70a11-147e-4d18-b15b-d5c28d3066f8" providerId="ADAL" clId="{BECBB758-BBBF-4FA2-BED7-ACD6E48E0AC4}" dt="2021-07-24T10:26:40.153" v="908" actId="478"/>
          <ac:spMkLst>
            <pc:docMk/>
            <pc:sldMk cId="4006268866" sldId="2146847363"/>
            <ac:spMk id="78" creationId="{90B48A84-47F1-4CE7-8947-54E775BA68A3}"/>
          </ac:spMkLst>
        </pc:spChg>
        <pc:spChg chg="del">
          <ac:chgData name="Ghoshal, Arijit" userId="1fe70a11-147e-4d18-b15b-d5c28d3066f8" providerId="ADAL" clId="{BECBB758-BBBF-4FA2-BED7-ACD6E48E0AC4}" dt="2021-07-24T10:25:10.424" v="831" actId="478"/>
          <ac:spMkLst>
            <pc:docMk/>
            <pc:sldMk cId="4006268866" sldId="2146847363"/>
            <ac:spMk id="95" creationId="{CD982526-4475-407D-AB78-1C72A02B5423}"/>
          </ac:spMkLst>
        </pc:spChg>
        <pc:spChg chg="del">
          <ac:chgData name="Ghoshal, Arijit" userId="1fe70a11-147e-4d18-b15b-d5c28d3066f8" providerId="ADAL" clId="{BECBB758-BBBF-4FA2-BED7-ACD6E48E0AC4}" dt="2021-07-24T10:25:10.424" v="831" actId="478"/>
          <ac:spMkLst>
            <pc:docMk/>
            <pc:sldMk cId="4006268866" sldId="2146847363"/>
            <ac:spMk id="96" creationId="{14B15BE4-6218-4FDA-922C-10621DE9D47E}"/>
          </ac:spMkLst>
        </pc:spChg>
        <pc:spChg chg="del">
          <ac:chgData name="Ghoshal, Arijit" userId="1fe70a11-147e-4d18-b15b-d5c28d3066f8" providerId="ADAL" clId="{BECBB758-BBBF-4FA2-BED7-ACD6E48E0AC4}" dt="2021-07-24T10:25:10.424" v="831" actId="478"/>
          <ac:spMkLst>
            <pc:docMk/>
            <pc:sldMk cId="4006268866" sldId="2146847363"/>
            <ac:spMk id="97" creationId="{AED7CF88-E7F4-4083-A87B-9B1E393EB45E}"/>
          </ac:spMkLst>
        </pc:spChg>
        <pc:spChg chg="del">
          <ac:chgData name="Ghoshal, Arijit" userId="1fe70a11-147e-4d18-b15b-d5c28d3066f8" providerId="ADAL" clId="{BECBB758-BBBF-4FA2-BED7-ACD6E48E0AC4}" dt="2021-07-24T10:25:10.424" v="831" actId="478"/>
          <ac:spMkLst>
            <pc:docMk/>
            <pc:sldMk cId="4006268866" sldId="2146847363"/>
            <ac:spMk id="98" creationId="{0F666A5C-BB10-4379-BEE7-C67AE1E91064}"/>
          </ac:spMkLst>
        </pc:spChg>
        <pc:spChg chg="del">
          <ac:chgData name="Ghoshal, Arijit" userId="1fe70a11-147e-4d18-b15b-d5c28d3066f8" providerId="ADAL" clId="{BECBB758-BBBF-4FA2-BED7-ACD6E48E0AC4}" dt="2021-07-24T10:25:10.424" v="831" actId="478"/>
          <ac:spMkLst>
            <pc:docMk/>
            <pc:sldMk cId="4006268866" sldId="2146847363"/>
            <ac:spMk id="99" creationId="{CBFA032D-0767-45AD-84DE-412EE6EC560D}"/>
          </ac:spMkLst>
        </pc:spChg>
        <pc:spChg chg="del">
          <ac:chgData name="Ghoshal, Arijit" userId="1fe70a11-147e-4d18-b15b-d5c28d3066f8" providerId="ADAL" clId="{BECBB758-BBBF-4FA2-BED7-ACD6E48E0AC4}" dt="2021-07-24T10:25:10.424" v="831" actId="478"/>
          <ac:spMkLst>
            <pc:docMk/>
            <pc:sldMk cId="4006268866" sldId="2146847363"/>
            <ac:spMk id="100" creationId="{B6DACBE1-0071-468F-866E-A1AA547F1009}"/>
          </ac:spMkLst>
        </pc:spChg>
        <pc:spChg chg="del">
          <ac:chgData name="Ghoshal, Arijit" userId="1fe70a11-147e-4d18-b15b-d5c28d3066f8" providerId="ADAL" clId="{BECBB758-BBBF-4FA2-BED7-ACD6E48E0AC4}" dt="2021-07-24T10:25:10.424" v="831" actId="478"/>
          <ac:spMkLst>
            <pc:docMk/>
            <pc:sldMk cId="4006268866" sldId="2146847363"/>
            <ac:spMk id="101" creationId="{DE2931BA-D5B9-4561-9ACC-A98787550F33}"/>
          </ac:spMkLst>
        </pc:spChg>
        <pc:spChg chg="del">
          <ac:chgData name="Ghoshal, Arijit" userId="1fe70a11-147e-4d18-b15b-d5c28d3066f8" providerId="ADAL" clId="{BECBB758-BBBF-4FA2-BED7-ACD6E48E0AC4}" dt="2021-07-24T10:25:10.424" v="831" actId="478"/>
          <ac:spMkLst>
            <pc:docMk/>
            <pc:sldMk cId="4006268866" sldId="2146847363"/>
            <ac:spMk id="102" creationId="{C695A81F-690A-444E-877A-72612490FB21}"/>
          </ac:spMkLst>
        </pc:spChg>
        <pc:spChg chg="del">
          <ac:chgData name="Ghoshal, Arijit" userId="1fe70a11-147e-4d18-b15b-d5c28d3066f8" providerId="ADAL" clId="{BECBB758-BBBF-4FA2-BED7-ACD6E48E0AC4}" dt="2021-07-24T10:25:00.545" v="830" actId="478"/>
          <ac:spMkLst>
            <pc:docMk/>
            <pc:sldMk cId="4006268866" sldId="2146847363"/>
            <ac:spMk id="113" creationId="{E4314FD7-8EFF-4839-AC20-1F85327C1598}"/>
          </ac:spMkLst>
        </pc:spChg>
        <pc:spChg chg="del">
          <ac:chgData name="Ghoshal, Arijit" userId="1fe70a11-147e-4d18-b15b-d5c28d3066f8" providerId="ADAL" clId="{BECBB758-BBBF-4FA2-BED7-ACD6E48E0AC4}" dt="2021-07-24T10:25:00.545" v="830" actId="478"/>
          <ac:spMkLst>
            <pc:docMk/>
            <pc:sldMk cId="4006268866" sldId="2146847363"/>
            <ac:spMk id="114" creationId="{34A86A89-B2CD-45A0-8F18-CDE4B3522520}"/>
          </ac:spMkLst>
        </pc:spChg>
        <pc:spChg chg="del">
          <ac:chgData name="Ghoshal, Arijit" userId="1fe70a11-147e-4d18-b15b-d5c28d3066f8" providerId="ADAL" clId="{BECBB758-BBBF-4FA2-BED7-ACD6E48E0AC4}" dt="2021-07-24T10:25:00.545" v="830" actId="478"/>
          <ac:spMkLst>
            <pc:docMk/>
            <pc:sldMk cId="4006268866" sldId="2146847363"/>
            <ac:spMk id="115" creationId="{891C9018-771A-4C31-87EB-CA3F7DC99E04}"/>
          </ac:spMkLst>
        </pc:spChg>
        <pc:spChg chg="del">
          <ac:chgData name="Ghoshal, Arijit" userId="1fe70a11-147e-4d18-b15b-d5c28d3066f8" providerId="ADAL" clId="{BECBB758-BBBF-4FA2-BED7-ACD6E48E0AC4}" dt="2021-07-24T10:25:00.545" v="830" actId="478"/>
          <ac:spMkLst>
            <pc:docMk/>
            <pc:sldMk cId="4006268866" sldId="2146847363"/>
            <ac:spMk id="117" creationId="{A21F8EE0-4F4C-4972-BEF2-5196A8E32CF2}"/>
          </ac:spMkLst>
        </pc:spChg>
        <pc:spChg chg="del">
          <ac:chgData name="Ghoshal, Arijit" userId="1fe70a11-147e-4d18-b15b-d5c28d3066f8" providerId="ADAL" clId="{BECBB758-BBBF-4FA2-BED7-ACD6E48E0AC4}" dt="2021-07-24T10:25:00.545" v="830" actId="478"/>
          <ac:spMkLst>
            <pc:docMk/>
            <pc:sldMk cId="4006268866" sldId="2146847363"/>
            <ac:spMk id="118" creationId="{9B8EAEBF-4648-4DDD-9BEC-1A6A08CD4003}"/>
          </ac:spMkLst>
        </pc:spChg>
        <pc:spChg chg="del">
          <ac:chgData name="Ghoshal, Arijit" userId="1fe70a11-147e-4d18-b15b-d5c28d3066f8" providerId="ADAL" clId="{BECBB758-BBBF-4FA2-BED7-ACD6E48E0AC4}" dt="2021-07-24T10:25:00.545" v="830" actId="478"/>
          <ac:spMkLst>
            <pc:docMk/>
            <pc:sldMk cId="4006268866" sldId="2146847363"/>
            <ac:spMk id="119" creationId="{8C38B77B-3A1B-4446-A1C6-618ABE67B782}"/>
          </ac:spMkLst>
        </pc:spChg>
        <pc:spChg chg="del">
          <ac:chgData name="Ghoshal, Arijit" userId="1fe70a11-147e-4d18-b15b-d5c28d3066f8" providerId="ADAL" clId="{BECBB758-BBBF-4FA2-BED7-ACD6E48E0AC4}" dt="2021-07-24T10:25:00.545" v="830" actId="478"/>
          <ac:spMkLst>
            <pc:docMk/>
            <pc:sldMk cId="4006268866" sldId="2146847363"/>
            <ac:spMk id="120" creationId="{864189DB-5738-451C-AB02-5CE2470878F3}"/>
          </ac:spMkLst>
        </pc:spChg>
        <pc:spChg chg="del">
          <ac:chgData name="Ghoshal, Arijit" userId="1fe70a11-147e-4d18-b15b-d5c28d3066f8" providerId="ADAL" clId="{BECBB758-BBBF-4FA2-BED7-ACD6E48E0AC4}" dt="2021-07-24T10:25:10.424" v="831" actId="478"/>
          <ac:spMkLst>
            <pc:docMk/>
            <pc:sldMk cId="4006268866" sldId="2146847363"/>
            <ac:spMk id="136" creationId="{6DBA397E-CB64-4248-9FFB-D6037DD31526}"/>
          </ac:spMkLst>
        </pc:spChg>
        <pc:spChg chg="del">
          <ac:chgData name="Ghoshal, Arijit" userId="1fe70a11-147e-4d18-b15b-d5c28d3066f8" providerId="ADAL" clId="{BECBB758-BBBF-4FA2-BED7-ACD6E48E0AC4}" dt="2021-07-24T10:25:10.424" v="831" actId="478"/>
          <ac:spMkLst>
            <pc:docMk/>
            <pc:sldMk cId="4006268866" sldId="2146847363"/>
            <ac:spMk id="137" creationId="{E644DAA9-80F4-4D8E-9C8C-F29596B71522}"/>
          </ac:spMkLst>
        </pc:spChg>
        <pc:spChg chg="del">
          <ac:chgData name="Ghoshal, Arijit" userId="1fe70a11-147e-4d18-b15b-d5c28d3066f8" providerId="ADAL" clId="{BECBB758-BBBF-4FA2-BED7-ACD6E48E0AC4}" dt="2021-07-24T10:25:10.424" v="831" actId="478"/>
          <ac:spMkLst>
            <pc:docMk/>
            <pc:sldMk cId="4006268866" sldId="2146847363"/>
            <ac:spMk id="138" creationId="{82E6825F-A3CD-4A5B-92C6-BF1EB5B2143A}"/>
          </ac:spMkLst>
        </pc:spChg>
        <pc:spChg chg="del">
          <ac:chgData name="Ghoshal, Arijit" userId="1fe70a11-147e-4d18-b15b-d5c28d3066f8" providerId="ADAL" clId="{BECBB758-BBBF-4FA2-BED7-ACD6E48E0AC4}" dt="2021-07-24T10:25:10.424" v="831" actId="478"/>
          <ac:spMkLst>
            <pc:docMk/>
            <pc:sldMk cId="4006268866" sldId="2146847363"/>
            <ac:spMk id="147" creationId="{83774435-D057-4C58-877F-0EC31B8ED0CC}"/>
          </ac:spMkLst>
        </pc:spChg>
        <pc:spChg chg="del">
          <ac:chgData name="Ghoshal, Arijit" userId="1fe70a11-147e-4d18-b15b-d5c28d3066f8" providerId="ADAL" clId="{BECBB758-BBBF-4FA2-BED7-ACD6E48E0AC4}" dt="2021-07-24T10:25:10.424" v="831" actId="478"/>
          <ac:spMkLst>
            <pc:docMk/>
            <pc:sldMk cId="4006268866" sldId="2146847363"/>
            <ac:spMk id="148" creationId="{20222EC5-29C8-464A-9BA0-94ADD265A931}"/>
          </ac:spMkLst>
        </pc:spChg>
        <pc:spChg chg="del">
          <ac:chgData name="Ghoshal, Arijit" userId="1fe70a11-147e-4d18-b15b-d5c28d3066f8" providerId="ADAL" clId="{BECBB758-BBBF-4FA2-BED7-ACD6E48E0AC4}" dt="2021-07-24T10:25:10.424" v="831" actId="478"/>
          <ac:spMkLst>
            <pc:docMk/>
            <pc:sldMk cId="4006268866" sldId="2146847363"/>
            <ac:spMk id="149" creationId="{0548D10E-C295-4D34-B62C-BACB06A9B6D4}"/>
          </ac:spMkLst>
        </pc:spChg>
        <pc:spChg chg="del mod">
          <ac:chgData name="Ghoshal, Arijit" userId="1fe70a11-147e-4d18-b15b-d5c28d3066f8" providerId="ADAL" clId="{BECBB758-BBBF-4FA2-BED7-ACD6E48E0AC4}" dt="2021-07-24T10:26:40.153" v="908" actId="478"/>
          <ac:spMkLst>
            <pc:docMk/>
            <pc:sldMk cId="4006268866" sldId="2146847363"/>
            <ac:spMk id="150" creationId="{88453C3E-BEC2-4B63-91EC-0FD46BAD9625}"/>
          </ac:spMkLst>
        </pc:spChg>
        <pc:spChg chg="del">
          <ac:chgData name="Ghoshal, Arijit" userId="1fe70a11-147e-4d18-b15b-d5c28d3066f8" providerId="ADAL" clId="{BECBB758-BBBF-4FA2-BED7-ACD6E48E0AC4}" dt="2021-07-24T10:25:10.424" v="831" actId="478"/>
          <ac:spMkLst>
            <pc:docMk/>
            <pc:sldMk cId="4006268866" sldId="2146847363"/>
            <ac:spMk id="151" creationId="{5B8B5978-B2C1-41EE-8752-EC5B4014A999}"/>
          </ac:spMkLst>
        </pc:spChg>
        <pc:spChg chg="del">
          <ac:chgData name="Ghoshal, Arijit" userId="1fe70a11-147e-4d18-b15b-d5c28d3066f8" providerId="ADAL" clId="{BECBB758-BBBF-4FA2-BED7-ACD6E48E0AC4}" dt="2021-07-24T10:25:00.545" v="830" actId="478"/>
          <ac:spMkLst>
            <pc:docMk/>
            <pc:sldMk cId="4006268866" sldId="2146847363"/>
            <ac:spMk id="152" creationId="{C0B683FD-2EF8-4282-A1C3-FFFEB408D678}"/>
          </ac:spMkLst>
        </pc:spChg>
        <pc:spChg chg="del mod">
          <ac:chgData name="Ghoshal, Arijit" userId="1fe70a11-147e-4d18-b15b-d5c28d3066f8" providerId="ADAL" clId="{BECBB758-BBBF-4FA2-BED7-ACD6E48E0AC4}" dt="2021-07-24T10:26:40.153" v="908" actId="478"/>
          <ac:spMkLst>
            <pc:docMk/>
            <pc:sldMk cId="4006268866" sldId="2146847363"/>
            <ac:spMk id="153" creationId="{663E1E27-12D8-4AA6-895E-99BFA37A3A8C}"/>
          </ac:spMkLst>
        </pc:spChg>
        <pc:spChg chg="del">
          <ac:chgData name="Ghoshal, Arijit" userId="1fe70a11-147e-4d18-b15b-d5c28d3066f8" providerId="ADAL" clId="{BECBB758-BBBF-4FA2-BED7-ACD6E48E0AC4}" dt="2021-07-24T10:25:00.545" v="830" actId="478"/>
          <ac:spMkLst>
            <pc:docMk/>
            <pc:sldMk cId="4006268866" sldId="2146847363"/>
            <ac:spMk id="154" creationId="{CD22CC69-2DB6-4FE7-82D5-7467FC14D2C5}"/>
          </ac:spMkLst>
        </pc:spChg>
        <pc:spChg chg="del mod">
          <ac:chgData name="Ghoshal, Arijit" userId="1fe70a11-147e-4d18-b15b-d5c28d3066f8" providerId="ADAL" clId="{BECBB758-BBBF-4FA2-BED7-ACD6E48E0AC4}" dt="2021-07-24T10:26:40.153" v="908" actId="478"/>
          <ac:spMkLst>
            <pc:docMk/>
            <pc:sldMk cId="4006268866" sldId="2146847363"/>
            <ac:spMk id="155" creationId="{CD533C3C-0CE1-4948-BDDB-65B1E3E3F4CE}"/>
          </ac:spMkLst>
        </pc:spChg>
        <pc:spChg chg="del">
          <ac:chgData name="Ghoshal, Arijit" userId="1fe70a11-147e-4d18-b15b-d5c28d3066f8" providerId="ADAL" clId="{BECBB758-BBBF-4FA2-BED7-ACD6E48E0AC4}" dt="2021-07-24T10:25:00.545" v="830" actId="478"/>
          <ac:spMkLst>
            <pc:docMk/>
            <pc:sldMk cId="4006268866" sldId="2146847363"/>
            <ac:spMk id="156" creationId="{FBA954AA-246D-4A6E-BC4E-CB0B39E4AAC4}"/>
          </ac:spMkLst>
        </pc:spChg>
        <pc:spChg chg="del mod">
          <ac:chgData name="Ghoshal, Arijit" userId="1fe70a11-147e-4d18-b15b-d5c28d3066f8" providerId="ADAL" clId="{BECBB758-BBBF-4FA2-BED7-ACD6E48E0AC4}" dt="2021-07-24T10:26:40.153" v="908" actId="478"/>
          <ac:spMkLst>
            <pc:docMk/>
            <pc:sldMk cId="4006268866" sldId="2146847363"/>
            <ac:spMk id="157" creationId="{32630565-4914-4E2C-B08C-A748486CF312}"/>
          </ac:spMkLst>
        </pc:spChg>
        <pc:spChg chg="del mod">
          <ac:chgData name="Ghoshal, Arijit" userId="1fe70a11-147e-4d18-b15b-d5c28d3066f8" providerId="ADAL" clId="{BECBB758-BBBF-4FA2-BED7-ACD6E48E0AC4}" dt="2021-07-24T10:26:40.153" v="908" actId="478"/>
          <ac:spMkLst>
            <pc:docMk/>
            <pc:sldMk cId="4006268866" sldId="2146847363"/>
            <ac:spMk id="158" creationId="{627DCBF6-9BEF-46EC-B17D-C9F59C770594}"/>
          </ac:spMkLst>
        </pc:spChg>
        <pc:spChg chg="del">
          <ac:chgData name="Ghoshal, Arijit" userId="1fe70a11-147e-4d18-b15b-d5c28d3066f8" providerId="ADAL" clId="{BECBB758-BBBF-4FA2-BED7-ACD6E48E0AC4}" dt="2021-07-24T10:25:10.424" v="831" actId="478"/>
          <ac:spMkLst>
            <pc:docMk/>
            <pc:sldMk cId="4006268866" sldId="2146847363"/>
            <ac:spMk id="159" creationId="{32DDC6D6-F435-4926-9DBD-79FCC946243B}"/>
          </ac:spMkLst>
        </pc:spChg>
        <pc:spChg chg="del">
          <ac:chgData name="Ghoshal, Arijit" userId="1fe70a11-147e-4d18-b15b-d5c28d3066f8" providerId="ADAL" clId="{BECBB758-BBBF-4FA2-BED7-ACD6E48E0AC4}" dt="2021-07-24T10:25:10.424" v="831" actId="478"/>
          <ac:spMkLst>
            <pc:docMk/>
            <pc:sldMk cId="4006268866" sldId="2146847363"/>
            <ac:spMk id="161" creationId="{2664C746-6C69-40B0-94E2-E04D8C86D719}"/>
          </ac:spMkLst>
        </pc:spChg>
        <pc:spChg chg="del mod">
          <ac:chgData name="Ghoshal, Arijit" userId="1fe70a11-147e-4d18-b15b-d5c28d3066f8" providerId="ADAL" clId="{BECBB758-BBBF-4FA2-BED7-ACD6E48E0AC4}" dt="2021-07-24T10:26:40.153" v="908" actId="478"/>
          <ac:spMkLst>
            <pc:docMk/>
            <pc:sldMk cId="4006268866" sldId="2146847363"/>
            <ac:spMk id="162" creationId="{1EE5D421-E026-4B12-83B6-D724146E632A}"/>
          </ac:spMkLst>
        </pc:spChg>
        <pc:spChg chg="del">
          <ac:chgData name="Ghoshal, Arijit" userId="1fe70a11-147e-4d18-b15b-d5c28d3066f8" providerId="ADAL" clId="{BECBB758-BBBF-4FA2-BED7-ACD6E48E0AC4}" dt="2021-07-24T10:25:10.424" v="831" actId="478"/>
          <ac:spMkLst>
            <pc:docMk/>
            <pc:sldMk cId="4006268866" sldId="2146847363"/>
            <ac:spMk id="163" creationId="{B4C7E0CB-40A4-4755-87F2-1C26A648C09E}"/>
          </ac:spMkLst>
        </pc:spChg>
        <pc:spChg chg="del mod">
          <ac:chgData name="Ghoshal, Arijit" userId="1fe70a11-147e-4d18-b15b-d5c28d3066f8" providerId="ADAL" clId="{BECBB758-BBBF-4FA2-BED7-ACD6E48E0AC4}" dt="2021-07-24T10:26:40.153" v="908" actId="478"/>
          <ac:spMkLst>
            <pc:docMk/>
            <pc:sldMk cId="4006268866" sldId="2146847363"/>
            <ac:spMk id="164" creationId="{ABECF380-9346-478F-89E8-90ECEB5C5F86}"/>
          </ac:spMkLst>
        </pc:spChg>
        <pc:spChg chg="del">
          <ac:chgData name="Ghoshal, Arijit" userId="1fe70a11-147e-4d18-b15b-d5c28d3066f8" providerId="ADAL" clId="{BECBB758-BBBF-4FA2-BED7-ACD6E48E0AC4}" dt="2021-07-24T10:25:10.424" v="831" actId="478"/>
          <ac:spMkLst>
            <pc:docMk/>
            <pc:sldMk cId="4006268866" sldId="2146847363"/>
            <ac:spMk id="165" creationId="{A915C1D2-2433-41E6-ABD8-B3228D748955}"/>
          </ac:spMkLst>
        </pc:spChg>
        <pc:spChg chg="del">
          <ac:chgData name="Ghoshal, Arijit" userId="1fe70a11-147e-4d18-b15b-d5c28d3066f8" providerId="ADAL" clId="{BECBB758-BBBF-4FA2-BED7-ACD6E48E0AC4}" dt="2021-07-24T10:25:10.424" v="831" actId="478"/>
          <ac:spMkLst>
            <pc:docMk/>
            <pc:sldMk cId="4006268866" sldId="2146847363"/>
            <ac:spMk id="166" creationId="{4CB566AF-01E8-40E5-8C73-B3056F978ADC}"/>
          </ac:spMkLst>
        </pc:spChg>
        <pc:spChg chg="del">
          <ac:chgData name="Ghoshal, Arijit" userId="1fe70a11-147e-4d18-b15b-d5c28d3066f8" providerId="ADAL" clId="{BECBB758-BBBF-4FA2-BED7-ACD6E48E0AC4}" dt="2021-07-24T10:25:10.424" v="831" actId="478"/>
          <ac:spMkLst>
            <pc:docMk/>
            <pc:sldMk cId="4006268866" sldId="2146847363"/>
            <ac:spMk id="167" creationId="{E8237133-A675-471A-B285-FE428909D910}"/>
          </ac:spMkLst>
        </pc:spChg>
        <pc:spChg chg="add del">
          <ac:chgData name="Ghoshal, Arijit" userId="1fe70a11-147e-4d18-b15b-d5c28d3066f8" providerId="ADAL" clId="{BECBB758-BBBF-4FA2-BED7-ACD6E48E0AC4}" dt="2021-07-24T10:24:55.216" v="829" actId="478"/>
          <ac:spMkLst>
            <pc:docMk/>
            <pc:sldMk cId="4006268866" sldId="2146847363"/>
            <ac:spMk id="168" creationId="{A4FEBB44-602D-45D5-B8CE-BD5D8C00C2BB}"/>
          </ac:spMkLst>
        </pc:spChg>
        <pc:spChg chg="del">
          <ac:chgData name="Ghoshal, Arijit" userId="1fe70a11-147e-4d18-b15b-d5c28d3066f8" providerId="ADAL" clId="{BECBB758-BBBF-4FA2-BED7-ACD6E48E0AC4}" dt="2021-07-24T10:25:10.424" v="831" actId="478"/>
          <ac:spMkLst>
            <pc:docMk/>
            <pc:sldMk cId="4006268866" sldId="2146847363"/>
            <ac:spMk id="169" creationId="{A647FA52-AC58-4865-9C62-C42D3DB9EDDF}"/>
          </ac:spMkLst>
        </pc:spChg>
        <pc:spChg chg="del">
          <ac:chgData name="Ghoshal, Arijit" userId="1fe70a11-147e-4d18-b15b-d5c28d3066f8" providerId="ADAL" clId="{BECBB758-BBBF-4FA2-BED7-ACD6E48E0AC4}" dt="2021-07-24T10:25:10.424" v="831" actId="478"/>
          <ac:spMkLst>
            <pc:docMk/>
            <pc:sldMk cId="4006268866" sldId="2146847363"/>
            <ac:spMk id="170" creationId="{9A852CEB-3C86-497E-88C2-4F0BF1887DC3}"/>
          </ac:spMkLst>
        </pc:spChg>
        <pc:spChg chg="del">
          <ac:chgData name="Ghoshal, Arijit" userId="1fe70a11-147e-4d18-b15b-d5c28d3066f8" providerId="ADAL" clId="{BECBB758-BBBF-4FA2-BED7-ACD6E48E0AC4}" dt="2021-07-24T10:25:10.424" v="831" actId="478"/>
          <ac:spMkLst>
            <pc:docMk/>
            <pc:sldMk cId="4006268866" sldId="2146847363"/>
            <ac:spMk id="171" creationId="{749C2D52-54AF-40EA-AA67-31EFA9DA4FFE}"/>
          </ac:spMkLst>
        </pc:spChg>
        <pc:spChg chg="del">
          <ac:chgData name="Ghoshal, Arijit" userId="1fe70a11-147e-4d18-b15b-d5c28d3066f8" providerId="ADAL" clId="{BECBB758-BBBF-4FA2-BED7-ACD6E48E0AC4}" dt="2021-07-24T10:25:10.424" v="831" actId="478"/>
          <ac:spMkLst>
            <pc:docMk/>
            <pc:sldMk cId="4006268866" sldId="2146847363"/>
            <ac:spMk id="172" creationId="{88BFA2C5-75D3-42CE-B1E8-73362363B78A}"/>
          </ac:spMkLst>
        </pc:spChg>
        <pc:spChg chg="del">
          <ac:chgData name="Ghoshal, Arijit" userId="1fe70a11-147e-4d18-b15b-d5c28d3066f8" providerId="ADAL" clId="{BECBB758-BBBF-4FA2-BED7-ACD6E48E0AC4}" dt="2021-07-24T10:25:10.424" v="831" actId="478"/>
          <ac:spMkLst>
            <pc:docMk/>
            <pc:sldMk cId="4006268866" sldId="2146847363"/>
            <ac:spMk id="173" creationId="{ACCED4CB-8D29-4B62-AD2E-908154047C97}"/>
          </ac:spMkLst>
        </pc:spChg>
        <pc:spChg chg="del">
          <ac:chgData name="Ghoshal, Arijit" userId="1fe70a11-147e-4d18-b15b-d5c28d3066f8" providerId="ADAL" clId="{BECBB758-BBBF-4FA2-BED7-ACD6E48E0AC4}" dt="2021-07-24T10:25:10.424" v="831" actId="478"/>
          <ac:spMkLst>
            <pc:docMk/>
            <pc:sldMk cId="4006268866" sldId="2146847363"/>
            <ac:spMk id="174" creationId="{681D2053-B685-4121-A22F-45CB2363C19A}"/>
          </ac:spMkLst>
        </pc:spChg>
        <pc:spChg chg="del">
          <ac:chgData name="Ghoshal, Arijit" userId="1fe70a11-147e-4d18-b15b-d5c28d3066f8" providerId="ADAL" clId="{BECBB758-BBBF-4FA2-BED7-ACD6E48E0AC4}" dt="2021-07-24T10:25:10.424" v="831" actId="478"/>
          <ac:spMkLst>
            <pc:docMk/>
            <pc:sldMk cId="4006268866" sldId="2146847363"/>
            <ac:spMk id="175" creationId="{F2CF12F5-4038-420E-AB0A-90A0B1A60EEE}"/>
          </ac:spMkLst>
        </pc:spChg>
        <pc:spChg chg="add del">
          <ac:chgData name="Ghoshal, Arijit" userId="1fe70a11-147e-4d18-b15b-d5c28d3066f8" providerId="ADAL" clId="{BECBB758-BBBF-4FA2-BED7-ACD6E48E0AC4}" dt="2021-07-24T10:24:55.216" v="829" actId="478"/>
          <ac:spMkLst>
            <pc:docMk/>
            <pc:sldMk cId="4006268866" sldId="2146847363"/>
            <ac:spMk id="176" creationId="{AA00A0AE-534D-41EB-BC88-694A68EC72E2}"/>
          </ac:spMkLst>
        </pc:spChg>
        <pc:spChg chg="del">
          <ac:chgData name="Ghoshal, Arijit" userId="1fe70a11-147e-4d18-b15b-d5c28d3066f8" providerId="ADAL" clId="{BECBB758-BBBF-4FA2-BED7-ACD6E48E0AC4}" dt="2021-07-24T10:25:10.424" v="831" actId="478"/>
          <ac:spMkLst>
            <pc:docMk/>
            <pc:sldMk cId="4006268866" sldId="2146847363"/>
            <ac:spMk id="177" creationId="{7C2AB916-C021-48C9-AB1F-BFD8F7ABFD01}"/>
          </ac:spMkLst>
        </pc:spChg>
        <pc:spChg chg="del">
          <ac:chgData name="Ghoshal, Arijit" userId="1fe70a11-147e-4d18-b15b-d5c28d3066f8" providerId="ADAL" clId="{BECBB758-BBBF-4FA2-BED7-ACD6E48E0AC4}" dt="2021-07-24T10:25:10.424" v="831" actId="478"/>
          <ac:spMkLst>
            <pc:docMk/>
            <pc:sldMk cId="4006268866" sldId="2146847363"/>
            <ac:spMk id="178" creationId="{80F2D927-3EFE-49E6-A2F7-5500E2599151}"/>
          </ac:spMkLst>
        </pc:spChg>
        <pc:spChg chg="add del">
          <ac:chgData name="Ghoshal, Arijit" userId="1fe70a11-147e-4d18-b15b-d5c28d3066f8" providerId="ADAL" clId="{BECBB758-BBBF-4FA2-BED7-ACD6E48E0AC4}" dt="2021-07-24T10:24:55.216" v="829" actId="478"/>
          <ac:spMkLst>
            <pc:docMk/>
            <pc:sldMk cId="4006268866" sldId="2146847363"/>
            <ac:spMk id="179" creationId="{3507C58F-1818-45F1-B47F-5C0FA129F8F8}"/>
          </ac:spMkLst>
        </pc:spChg>
        <pc:spChg chg="add del">
          <ac:chgData name="Ghoshal, Arijit" userId="1fe70a11-147e-4d18-b15b-d5c28d3066f8" providerId="ADAL" clId="{BECBB758-BBBF-4FA2-BED7-ACD6E48E0AC4}" dt="2021-07-24T10:24:55.216" v="829" actId="478"/>
          <ac:spMkLst>
            <pc:docMk/>
            <pc:sldMk cId="4006268866" sldId="2146847363"/>
            <ac:spMk id="180" creationId="{AD033D8A-DD98-4865-B7F1-37F03BB402DE}"/>
          </ac:spMkLst>
        </pc:spChg>
        <pc:spChg chg="del mod">
          <ac:chgData name="Ghoshal, Arijit" userId="1fe70a11-147e-4d18-b15b-d5c28d3066f8" providerId="ADAL" clId="{BECBB758-BBBF-4FA2-BED7-ACD6E48E0AC4}" dt="2021-07-24T10:26:40.153" v="908" actId="478"/>
          <ac:spMkLst>
            <pc:docMk/>
            <pc:sldMk cId="4006268866" sldId="2146847363"/>
            <ac:spMk id="181" creationId="{0426F253-DEF5-4D66-9892-1658AE97D577}"/>
          </ac:spMkLst>
        </pc:spChg>
        <pc:spChg chg="del">
          <ac:chgData name="Ghoshal, Arijit" userId="1fe70a11-147e-4d18-b15b-d5c28d3066f8" providerId="ADAL" clId="{BECBB758-BBBF-4FA2-BED7-ACD6E48E0AC4}" dt="2021-07-24T10:25:00.545" v="830" actId="478"/>
          <ac:spMkLst>
            <pc:docMk/>
            <pc:sldMk cId="4006268866" sldId="2146847363"/>
            <ac:spMk id="189" creationId="{9A96EDBE-90D1-4A38-8F4D-8581B88E4B7F}"/>
          </ac:spMkLst>
        </pc:spChg>
        <pc:spChg chg="del">
          <ac:chgData name="Ghoshal, Arijit" userId="1fe70a11-147e-4d18-b15b-d5c28d3066f8" providerId="ADAL" clId="{BECBB758-BBBF-4FA2-BED7-ACD6E48E0AC4}" dt="2021-07-24T10:25:00.545" v="830" actId="478"/>
          <ac:spMkLst>
            <pc:docMk/>
            <pc:sldMk cId="4006268866" sldId="2146847363"/>
            <ac:spMk id="190" creationId="{C7A97756-C2EB-430D-8285-044AB38B7BB8}"/>
          </ac:spMkLst>
        </pc:spChg>
        <pc:spChg chg="del">
          <ac:chgData name="Ghoshal, Arijit" userId="1fe70a11-147e-4d18-b15b-d5c28d3066f8" providerId="ADAL" clId="{BECBB758-BBBF-4FA2-BED7-ACD6E48E0AC4}" dt="2021-07-24T10:25:00.545" v="830" actId="478"/>
          <ac:spMkLst>
            <pc:docMk/>
            <pc:sldMk cId="4006268866" sldId="2146847363"/>
            <ac:spMk id="191" creationId="{D8F5A1B1-1863-4591-8201-59BD8E8FEBE2}"/>
          </ac:spMkLst>
        </pc:spChg>
        <pc:spChg chg="del">
          <ac:chgData name="Ghoshal, Arijit" userId="1fe70a11-147e-4d18-b15b-d5c28d3066f8" providerId="ADAL" clId="{BECBB758-BBBF-4FA2-BED7-ACD6E48E0AC4}" dt="2021-07-24T10:25:00.545" v="830" actId="478"/>
          <ac:spMkLst>
            <pc:docMk/>
            <pc:sldMk cId="4006268866" sldId="2146847363"/>
            <ac:spMk id="192" creationId="{9EDC9230-FA56-4A9D-92C5-9661C977DBCE}"/>
          </ac:spMkLst>
        </pc:spChg>
        <pc:spChg chg="del">
          <ac:chgData name="Ghoshal, Arijit" userId="1fe70a11-147e-4d18-b15b-d5c28d3066f8" providerId="ADAL" clId="{BECBB758-BBBF-4FA2-BED7-ACD6E48E0AC4}" dt="2021-07-24T10:25:00.545" v="830" actId="478"/>
          <ac:spMkLst>
            <pc:docMk/>
            <pc:sldMk cId="4006268866" sldId="2146847363"/>
            <ac:spMk id="193" creationId="{D5E05405-4199-4E47-BD48-DBCF1426092B}"/>
          </ac:spMkLst>
        </pc:spChg>
        <pc:spChg chg="del">
          <ac:chgData name="Ghoshal, Arijit" userId="1fe70a11-147e-4d18-b15b-d5c28d3066f8" providerId="ADAL" clId="{BECBB758-BBBF-4FA2-BED7-ACD6E48E0AC4}" dt="2021-07-24T10:25:00.545" v="830" actId="478"/>
          <ac:spMkLst>
            <pc:docMk/>
            <pc:sldMk cId="4006268866" sldId="2146847363"/>
            <ac:spMk id="194" creationId="{DFAC6DF5-19AD-4439-8892-36DA3E77534D}"/>
          </ac:spMkLst>
        </pc:spChg>
        <pc:spChg chg="del">
          <ac:chgData name="Ghoshal, Arijit" userId="1fe70a11-147e-4d18-b15b-d5c28d3066f8" providerId="ADAL" clId="{BECBB758-BBBF-4FA2-BED7-ACD6E48E0AC4}" dt="2021-07-24T10:25:00.545" v="830" actId="478"/>
          <ac:spMkLst>
            <pc:docMk/>
            <pc:sldMk cId="4006268866" sldId="2146847363"/>
            <ac:spMk id="195" creationId="{57AE7C60-5964-4143-81A9-BE47C348A062}"/>
          </ac:spMkLst>
        </pc:spChg>
        <pc:spChg chg="del">
          <ac:chgData name="Ghoshal, Arijit" userId="1fe70a11-147e-4d18-b15b-d5c28d3066f8" providerId="ADAL" clId="{BECBB758-BBBF-4FA2-BED7-ACD6E48E0AC4}" dt="2021-07-24T10:25:10.424" v="831" actId="478"/>
          <ac:spMkLst>
            <pc:docMk/>
            <pc:sldMk cId="4006268866" sldId="2146847363"/>
            <ac:spMk id="196" creationId="{CC6A486A-1EC8-4B48-B923-02BC3B780F85}"/>
          </ac:spMkLst>
        </pc:spChg>
        <pc:spChg chg="del">
          <ac:chgData name="Ghoshal, Arijit" userId="1fe70a11-147e-4d18-b15b-d5c28d3066f8" providerId="ADAL" clId="{BECBB758-BBBF-4FA2-BED7-ACD6E48E0AC4}" dt="2021-07-24T10:25:10.424" v="831" actId="478"/>
          <ac:spMkLst>
            <pc:docMk/>
            <pc:sldMk cId="4006268866" sldId="2146847363"/>
            <ac:spMk id="197" creationId="{59ADB42C-EF76-4606-9A19-804B9296356E}"/>
          </ac:spMkLst>
        </pc:spChg>
        <pc:spChg chg="del">
          <ac:chgData name="Ghoshal, Arijit" userId="1fe70a11-147e-4d18-b15b-d5c28d3066f8" providerId="ADAL" clId="{BECBB758-BBBF-4FA2-BED7-ACD6E48E0AC4}" dt="2021-07-24T10:25:00.545" v="830" actId="478"/>
          <ac:spMkLst>
            <pc:docMk/>
            <pc:sldMk cId="4006268866" sldId="2146847363"/>
            <ac:spMk id="206" creationId="{CA02D90D-EDE5-4BE2-9F88-F5AF1EB01C43}"/>
          </ac:spMkLst>
        </pc:spChg>
        <pc:spChg chg="del">
          <ac:chgData name="Ghoshal, Arijit" userId="1fe70a11-147e-4d18-b15b-d5c28d3066f8" providerId="ADAL" clId="{BECBB758-BBBF-4FA2-BED7-ACD6E48E0AC4}" dt="2021-07-24T10:25:10.424" v="831" actId="478"/>
          <ac:spMkLst>
            <pc:docMk/>
            <pc:sldMk cId="4006268866" sldId="2146847363"/>
            <ac:spMk id="207" creationId="{793C59FA-CE71-4EF4-AE29-F02E4F71A25E}"/>
          </ac:spMkLst>
        </pc:spChg>
        <pc:spChg chg="del">
          <ac:chgData name="Ghoshal, Arijit" userId="1fe70a11-147e-4d18-b15b-d5c28d3066f8" providerId="ADAL" clId="{BECBB758-BBBF-4FA2-BED7-ACD6E48E0AC4}" dt="2021-07-24T10:25:10.424" v="831" actId="478"/>
          <ac:spMkLst>
            <pc:docMk/>
            <pc:sldMk cId="4006268866" sldId="2146847363"/>
            <ac:spMk id="208" creationId="{ADCF9CB1-33A7-4E52-8EB7-C67774707CBA}"/>
          </ac:spMkLst>
        </pc:spChg>
        <pc:spChg chg="del">
          <ac:chgData name="Ghoshal, Arijit" userId="1fe70a11-147e-4d18-b15b-d5c28d3066f8" providerId="ADAL" clId="{BECBB758-BBBF-4FA2-BED7-ACD6E48E0AC4}" dt="2021-07-24T10:25:10.424" v="831" actId="478"/>
          <ac:spMkLst>
            <pc:docMk/>
            <pc:sldMk cId="4006268866" sldId="2146847363"/>
            <ac:spMk id="209" creationId="{59F896A1-679C-4512-BB1E-E81C454359EC}"/>
          </ac:spMkLst>
        </pc:spChg>
        <pc:spChg chg="del">
          <ac:chgData name="Ghoshal, Arijit" userId="1fe70a11-147e-4d18-b15b-d5c28d3066f8" providerId="ADAL" clId="{BECBB758-BBBF-4FA2-BED7-ACD6E48E0AC4}" dt="2021-07-24T10:25:10.424" v="831" actId="478"/>
          <ac:spMkLst>
            <pc:docMk/>
            <pc:sldMk cId="4006268866" sldId="2146847363"/>
            <ac:spMk id="210" creationId="{6C4D060D-763F-40A0-BD38-669F6269303B}"/>
          </ac:spMkLst>
        </pc:spChg>
        <pc:spChg chg="del">
          <ac:chgData name="Ghoshal, Arijit" userId="1fe70a11-147e-4d18-b15b-d5c28d3066f8" providerId="ADAL" clId="{BECBB758-BBBF-4FA2-BED7-ACD6E48E0AC4}" dt="2021-07-24T10:25:10.424" v="831" actId="478"/>
          <ac:spMkLst>
            <pc:docMk/>
            <pc:sldMk cId="4006268866" sldId="2146847363"/>
            <ac:spMk id="211" creationId="{09F1E459-EA86-429C-AB7C-FCF90FAA2ACC}"/>
          </ac:spMkLst>
        </pc:spChg>
        <pc:spChg chg="del">
          <ac:chgData name="Ghoshal, Arijit" userId="1fe70a11-147e-4d18-b15b-d5c28d3066f8" providerId="ADAL" clId="{BECBB758-BBBF-4FA2-BED7-ACD6E48E0AC4}" dt="2021-07-24T10:25:10.424" v="831" actId="478"/>
          <ac:spMkLst>
            <pc:docMk/>
            <pc:sldMk cId="4006268866" sldId="2146847363"/>
            <ac:spMk id="212" creationId="{69417FC5-80C4-4781-9A58-EA69B201E7EA}"/>
          </ac:spMkLst>
        </pc:spChg>
        <pc:spChg chg="del">
          <ac:chgData name="Ghoshal, Arijit" userId="1fe70a11-147e-4d18-b15b-d5c28d3066f8" providerId="ADAL" clId="{BECBB758-BBBF-4FA2-BED7-ACD6E48E0AC4}" dt="2021-07-24T10:25:00.545" v="830" actId="478"/>
          <ac:spMkLst>
            <pc:docMk/>
            <pc:sldMk cId="4006268866" sldId="2146847363"/>
            <ac:spMk id="219" creationId="{189B593A-FE35-4D55-83A4-DDC5FE9061D4}"/>
          </ac:spMkLst>
        </pc:spChg>
        <pc:spChg chg="del">
          <ac:chgData name="Ghoshal, Arijit" userId="1fe70a11-147e-4d18-b15b-d5c28d3066f8" providerId="ADAL" clId="{BECBB758-BBBF-4FA2-BED7-ACD6E48E0AC4}" dt="2021-07-24T10:25:10.424" v="831" actId="478"/>
          <ac:spMkLst>
            <pc:docMk/>
            <pc:sldMk cId="4006268866" sldId="2146847363"/>
            <ac:spMk id="220" creationId="{76546320-A23D-41C8-9D36-B6D6E03FEF05}"/>
          </ac:spMkLst>
        </pc:spChg>
        <pc:spChg chg="del">
          <ac:chgData name="Ghoshal, Arijit" userId="1fe70a11-147e-4d18-b15b-d5c28d3066f8" providerId="ADAL" clId="{BECBB758-BBBF-4FA2-BED7-ACD6E48E0AC4}" dt="2021-07-24T10:25:10.424" v="831" actId="478"/>
          <ac:spMkLst>
            <pc:docMk/>
            <pc:sldMk cId="4006268866" sldId="2146847363"/>
            <ac:spMk id="221" creationId="{BA3EBA61-685B-4C56-9CF7-C01DF662C805}"/>
          </ac:spMkLst>
        </pc:spChg>
        <pc:spChg chg="del">
          <ac:chgData name="Ghoshal, Arijit" userId="1fe70a11-147e-4d18-b15b-d5c28d3066f8" providerId="ADAL" clId="{BECBB758-BBBF-4FA2-BED7-ACD6E48E0AC4}" dt="2021-07-24T10:25:10.424" v="831" actId="478"/>
          <ac:spMkLst>
            <pc:docMk/>
            <pc:sldMk cId="4006268866" sldId="2146847363"/>
            <ac:spMk id="222" creationId="{B2A1A3EA-04A4-4487-9628-A5AB519D709A}"/>
          </ac:spMkLst>
        </pc:spChg>
        <pc:spChg chg="del">
          <ac:chgData name="Ghoshal, Arijit" userId="1fe70a11-147e-4d18-b15b-d5c28d3066f8" providerId="ADAL" clId="{BECBB758-BBBF-4FA2-BED7-ACD6E48E0AC4}" dt="2021-07-24T10:25:10.424" v="831" actId="478"/>
          <ac:spMkLst>
            <pc:docMk/>
            <pc:sldMk cId="4006268866" sldId="2146847363"/>
            <ac:spMk id="227" creationId="{103D9DB8-E110-4F41-9529-004E17E95237}"/>
          </ac:spMkLst>
        </pc:spChg>
        <pc:spChg chg="del">
          <ac:chgData name="Ghoshal, Arijit" userId="1fe70a11-147e-4d18-b15b-d5c28d3066f8" providerId="ADAL" clId="{BECBB758-BBBF-4FA2-BED7-ACD6E48E0AC4}" dt="2021-07-24T10:25:00.545" v="830" actId="478"/>
          <ac:spMkLst>
            <pc:docMk/>
            <pc:sldMk cId="4006268866" sldId="2146847363"/>
            <ac:spMk id="228" creationId="{473684E9-91EE-46BE-9E2A-30C74AAE472C}"/>
          </ac:spMkLst>
        </pc:spChg>
        <pc:spChg chg="del">
          <ac:chgData name="Ghoshal, Arijit" userId="1fe70a11-147e-4d18-b15b-d5c28d3066f8" providerId="ADAL" clId="{BECBB758-BBBF-4FA2-BED7-ACD6E48E0AC4}" dt="2021-07-24T10:25:10.424" v="831" actId="478"/>
          <ac:spMkLst>
            <pc:docMk/>
            <pc:sldMk cId="4006268866" sldId="2146847363"/>
            <ac:spMk id="229" creationId="{5F937B2C-8993-4A7B-B3BD-530EB09EDA61}"/>
          </ac:spMkLst>
        </pc:spChg>
        <pc:spChg chg="del">
          <ac:chgData name="Ghoshal, Arijit" userId="1fe70a11-147e-4d18-b15b-d5c28d3066f8" providerId="ADAL" clId="{BECBB758-BBBF-4FA2-BED7-ACD6E48E0AC4}" dt="2021-07-24T10:25:10.424" v="831" actId="478"/>
          <ac:spMkLst>
            <pc:docMk/>
            <pc:sldMk cId="4006268866" sldId="2146847363"/>
            <ac:spMk id="251" creationId="{4DDC695C-5C5F-4DB3-AEC4-F591AD2E622C}"/>
          </ac:spMkLst>
        </pc:spChg>
        <pc:spChg chg="del">
          <ac:chgData name="Ghoshal, Arijit" userId="1fe70a11-147e-4d18-b15b-d5c28d3066f8" providerId="ADAL" clId="{BECBB758-BBBF-4FA2-BED7-ACD6E48E0AC4}" dt="2021-07-24T10:25:10.424" v="831" actId="478"/>
          <ac:spMkLst>
            <pc:docMk/>
            <pc:sldMk cId="4006268866" sldId="2146847363"/>
            <ac:spMk id="252" creationId="{09927DAD-20F2-4F15-8747-4CAFF367EEE2}"/>
          </ac:spMkLst>
        </pc:spChg>
        <pc:spChg chg="del">
          <ac:chgData name="Ghoshal, Arijit" userId="1fe70a11-147e-4d18-b15b-d5c28d3066f8" providerId="ADAL" clId="{BECBB758-BBBF-4FA2-BED7-ACD6E48E0AC4}" dt="2021-07-24T10:25:10.424" v="831" actId="478"/>
          <ac:spMkLst>
            <pc:docMk/>
            <pc:sldMk cId="4006268866" sldId="2146847363"/>
            <ac:spMk id="253" creationId="{997E8192-8279-4849-B57A-581A9AF4ED62}"/>
          </ac:spMkLst>
        </pc:spChg>
        <pc:spChg chg="del">
          <ac:chgData name="Ghoshal, Arijit" userId="1fe70a11-147e-4d18-b15b-d5c28d3066f8" providerId="ADAL" clId="{BECBB758-BBBF-4FA2-BED7-ACD6E48E0AC4}" dt="2021-07-24T10:25:10.424" v="831" actId="478"/>
          <ac:spMkLst>
            <pc:docMk/>
            <pc:sldMk cId="4006268866" sldId="2146847363"/>
            <ac:spMk id="254" creationId="{90A7E5C6-D18D-4218-8606-3A85852747D1}"/>
          </ac:spMkLst>
        </pc:spChg>
        <pc:spChg chg="del">
          <ac:chgData name="Ghoshal, Arijit" userId="1fe70a11-147e-4d18-b15b-d5c28d3066f8" providerId="ADAL" clId="{BECBB758-BBBF-4FA2-BED7-ACD6E48E0AC4}" dt="2021-07-24T10:25:00.545" v="830" actId="478"/>
          <ac:spMkLst>
            <pc:docMk/>
            <pc:sldMk cId="4006268866" sldId="2146847363"/>
            <ac:spMk id="255" creationId="{3076023C-CBBD-4CE5-B76A-76BB63F6A9B8}"/>
          </ac:spMkLst>
        </pc:spChg>
        <pc:spChg chg="del mod">
          <ac:chgData name="Ghoshal, Arijit" userId="1fe70a11-147e-4d18-b15b-d5c28d3066f8" providerId="ADAL" clId="{BECBB758-BBBF-4FA2-BED7-ACD6E48E0AC4}" dt="2021-07-24T10:26:40.153" v="908" actId="478"/>
          <ac:spMkLst>
            <pc:docMk/>
            <pc:sldMk cId="4006268866" sldId="2146847363"/>
            <ac:spMk id="256" creationId="{EB620671-3BA9-40DE-933E-11731654EB19}"/>
          </ac:spMkLst>
        </pc:spChg>
        <pc:spChg chg="del">
          <ac:chgData name="Ghoshal, Arijit" userId="1fe70a11-147e-4d18-b15b-d5c28d3066f8" providerId="ADAL" clId="{BECBB758-BBBF-4FA2-BED7-ACD6E48E0AC4}" dt="2021-07-24T10:25:00.545" v="830" actId="478"/>
          <ac:spMkLst>
            <pc:docMk/>
            <pc:sldMk cId="4006268866" sldId="2146847363"/>
            <ac:spMk id="257" creationId="{C778C584-62AE-4FF9-B2AF-EA5C5D6E420D}"/>
          </ac:spMkLst>
        </pc:spChg>
        <pc:spChg chg="del">
          <ac:chgData name="Ghoshal, Arijit" userId="1fe70a11-147e-4d18-b15b-d5c28d3066f8" providerId="ADAL" clId="{BECBB758-BBBF-4FA2-BED7-ACD6E48E0AC4}" dt="2021-07-24T10:25:00.545" v="830" actId="478"/>
          <ac:spMkLst>
            <pc:docMk/>
            <pc:sldMk cId="4006268866" sldId="2146847363"/>
            <ac:spMk id="258" creationId="{30A56B48-4AEE-4610-9BCE-2FACC4E3BF7B}"/>
          </ac:spMkLst>
        </pc:spChg>
        <pc:spChg chg="add del">
          <ac:chgData name="Ghoshal, Arijit" userId="1fe70a11-147e-4d18-b15b-d5c28d3066f8" providerId="ADAL" clId="{BECBB758-BBBF-4FA2-BED7-ACD6E48E0AC4}" dt="2021-07-24T10:24:55.216" v="829" actId="478"/>
          <ac:spMkLst>
            <pc:docMk/>
            <pc:sldMk cId="4006268866" sldId="2146847363"/>
            <ac:spMk id="259" creationId="{8C539C35-5862-4B54-84E8-9DA5FF57940E}"/>
          </ac:spMkLst>
        </pc:spChg>
        <pc:spChg chg="del mod">
          <ac:chgData name="Ghoshal, Arijit" userId="1fe70a11-147e-4d18-b15b-d5c28d3066f8" providerId="ADAL" clId="{BECBB758-BBBF-4FA2-BED7-ACD6E48E0AC4}" dt="2021-07-24T10:26:40.153" v="908" actId="478"/>
          <ac:spMkLst>
            <pc:docMk/>
            <pc:sldMk cId="4006268866" sldId="2146847363"/>
            <ac:spMk id="260" creationId="{CA339CF1-1317-4794-AAF9-3FB5E0A17987}"/>
          </ac:spMkLst>
        </pc:spChg>
        <pc:spChg chg="add mod">
          <ac:chgData name="Ghoshal, Arijit" userId="1fe70a11-147e-4d18-b15b-d5c28d3066f8" providerId="ADAL" clId="{BECBB758-BBBF-4FA2-BED7-ACD6E48E0AC4}" dt="2021-07-24T10:28:25.063" v="990" actId="14100"/>
          <ac:spMkLst>
            <pc:docMk/>
            <pc:sldMk cId="4006268866" sldId="2146847363"/>
            <ac:spMk id="261" creationId="{A542FDD3-1012-4D59-AD18-298D41407ACA}"/>
          </ac:spMkLst>
        </pc:spChg>
        <pc:spChg chg="add mod">
          <ac:chgData name="Ghoshal, Arijit" userId="1fe70a11-147e-4d18-b15b-d5c28d3066f8" providerId="ADAL" clId="{BECBB758-BBBF-4FA2-BED7-ACD6E48E0AC4}" dt="2021-07-24T10:28:29.021" v="991" actId="1076"/>
          <ac:spMkLst>
            <pc:docMk/>
            <pc:sldMk cId="4006268866" sldId="2146847363"/>
            <ac:spMk id="262" creationId="{E9907269-5724-42E5-96D4-FE83FC66F38F}"/>
          </ac:spMkLst>
        </pc:spChg>
        <pc:spChg chg="add mod">
          <ac:chgData name="Ghoshal, Arijit" userId="1fe70a11-147e-4d18-b15b-d5c28d3066f8" providerId="ADAL" clId="{BECBB758-BBBF-4FA2-BED7-ACD6E48E0AC4}" dt="2021-07-24T10:27:36.446" v="951" actId="14100"/>
          <ac:spMkLst>
            <pc:docMk/>
            <pc:sldMk cId="4006268866" sldId="2146847363"/>
            <ac:spMk id="263" creationId="{A2F3CF1C-3247-470A-BF2B-8DD5949A21EA}"/>
          </ac:spMkLst>
        </pc:spChg>
        <pc:spChg chg="add mod">
          <ac:chgData name="Ghoshal, Arijit" userId="1fe70a11-147e-4d18-b15b-d5c28d3066f8" providerId="ADAL" clId="{BECBB758-BBBF-4FA2-BED7-ACD6E48E0AC4}" dt="2021-07-24T10:32:32.615" v="1164" actId="1076"/>
          <ac:spMkLst>
            <pc:docMk/>
            <pc:sldMk cId="4006268866" sldId="2146847363"/>
            <ac:spMk id="264" creationId="{95B484B0-ECD5-41FE-9032-B10427F61A85}"/>
          </ac:spMkLst>
        </pc:spChg>
        <pc:spChg chg="add mod">
          <ac:chgData name="Ghoshal, Arijit" userId="1fe70a11-147e-4d18-b15b-d5c28d3066f8" providerId="ADAL" clId="{BECBB758-BBBF-4FA2-BED7-ACD6E48E0AC4}" dt="2021-07-24T10:32:07.338" v="1145" actId="20577"/>
          <ac:spMkLst>
            <pc:docMk/>
            <pc:sldMk cId="4006268866" sldId="2146847363"/>
            <ac:spMk id="265" creationId="{87BFE736-978A-47D4-9F56-D29DCF6EE43E}"/>
          </ac:spMkLst>
        </pc:spChg>
        <pc:spChg chg="add mod">
          <ac:chgData name="Ghoshal, Arijit" userId="1fe70a11-147e-4d18-b15b-d5c28d3066f8" providerId="ADAL" clId="{BECBB758-BBBF-4FA2-BED7-ACD6E48E0AC4}" dt="2021-07-24T10:32:11.073" v="1154" actId="20577"/>
          <ac:spMkLst>
            <pc:docMk/>
            <pc:sldMk cId="4006268866" sldId="2146847363"/>
            <ac:spMk id="266" creationId="{6E8D33D9-E468-4897-9A83-BBAFACD5096A}"/>
          </ac:spMkLst>
        </pc:spChg>
        <pc:spChg chg="add mod">
          <ac:chgData name="Ghoshal, Arijit" userId="1fe70a11-147e-4d18-b15b-d5c28d3066f8" providerId="ADAL" clId="{BECBB758-BBBF-4FA2-BED7-ACD6E48E0AC4}" dt="2021-07-24T10:32:16.712" v="1163" actId="20577"/>
          <ac:spMkLst>
            <pc:docMk/>
            <pc:sldMk cId="4006268866" sldId="2146847363"/>
            <ac:spMk id="269" creationId="{5473D45B-F1D1-4CFF-947B-410A00B57564}"/>
          </ac:spMkLst>
        </pc:spChg>
        <pc:spChg chg="del">
          <ac:chgData name="Ghoshal, Arijit" userId="1fe70a11-147e-4d18-b15b-d5c28d3066f8" providerId="ADAL" clId="{BECBB758-BBBF-4FA2-BED7-ACD6E48E0AC4}" dt="2021-07-24T10:25:10.424" v="831" actId="478"/>
          <ac:spMkLst>
            <pc:docMk/>
            <pc:sldMk cId="4006268866" sldId="2146847363"/>
            <ac:spMk id="304" creationId="{2F06208C-CDB4-4697-9E7B-BB6282AF025E}"/>
          </ac:spMkLst>
        </pc:spChg>
        <pc:grpChg chg="del">
          <ac:chgData name="Ghoshal, Arijit" userId="1fe70a11-147e-4d18-b15b-d5c28d3066f8" providerId="ADAL" clId="{BECBB758-BBBF-4FA2-BED7-ACD6E48E0AC4}" dt="2021-07-24T10:25:10.424" v="831" actId="478"/>
          <ac:grpSpMkLst>
            <pc:docMk/>
            <pc:sldMk cId="4006268866" sldId="2146847363"/>
            <ac:grpSpMk id="2" creationId="{D9A215A6-7C9C-4DD2-A168-23B5ABB43961}"/>
          </ac:grpSpMkLst>
        </pc:grpChg>
        <pc:grpChg chg="del">
          <ac:chgData name="Ghoshal, Arijit" userId="1fe70a11-147e-4d18-b15b-d5c28d3066f8" providerId="ADAL" clId="{BECBB758-BBBF-4FA2-BED7-ACD6E48E0AC4}" dt="2021-07-24T10:25:10.424" v="831" actId="478"/>
          <ac:grpSpMkLst>
            <pc:docMk/>
            <pc:sldMk cId="4006268866" sldId="2146847363"/>
            <ac:grpSpMk id="3" creationId="{47DD94E7-F7D4-42C4-ADAE-A1CD340B1FAC}"/>
          </ac:grpSpMkLst>
        </pc:grpChg>
        <pc:grpChg chg="del">
          <ac:chgData name="Ghoshal, Arijit" userId="1fe70a11-147e-4d18-b15b-d5c28d3066f8" providerId="ADAL" clId="{BECBB758-BBBF-4FA2-BED7-ACD6E48E0AC4}" dt="2021-07-24T10:25:10.424" v="831" actId="478"/>
          <ac:grpSpMkLst>
            <pc:docMk/>
            <pc:sldMk cId="4006268866" sldId="2146847363"/>
            <ac:grpSpMk id="8" creationId="{D29C7C49-B631-40DB-9C2A-9A7022018FBA}"/>
          </ac:grpSpMkLst>
        </pc:grpChg>
        <pc:grpChg chg="del">
          <ac:chgData name="Ghoshal, Arijit" userId="1fe70a11-147e-4d18-b15b-d5c28d3066f8" providerId="ADAL" clId="{BECBB758-BBBF-4FA2-BED7-ACD6E48E0AC4}" dt="2021-07-24T10:25:10.424" v="831" actId="478"/>
          <ac:grpSpMkLst>
            <pc:docMk/>
            <pc:sldMk cId="4006268866" sldId="2146847363"/>
            <ac:grpSpMk id="9" creationId="{F3735CFA-889B-4A10-8C3E-37A8DCE73B3F}"/>
          </ac:grpSpMkLst>
        </pc:grpChg>
        <pc:grpChg chg="del">
          <ac:chgData name="Ghoshal, Arijit" userId="1fe70a11-147e-4d18-b15b-d5c28d3066f8" providerId="ADAL" clId="{BECBB758-BBBF-4FA2-BED7-ACD6E48E0AC4}" dt="2021-07-24T10:25:10.424" v="831" actId="478"/>
          <ac:grpSpMkLst>
            <pc:docMk/>
            <pc:sldMk cId="4006268866" sldId="2146847363"/>
            <ac:grpSpMk id="14" creationId="{189C0B1D-0F42-437E-A69F-A38756991464}"/>
          </ac:grpSpMkLst>
        </pc:grpChg>
        <pc:grpChg chg="del">
          <ac:chgData name="Ghoshal, Arijit" userId="1fe70a11-147e-4d18-b15b-d5c28d3066f8" providerId="ADAL" clId="{BECBB758-BBBF-4FA2-BED7-ACD6E48E0AC4}" dt="2021-07-24T10:25:10.424" v="831" actId="478"/>
          <ac:grpSpMkLst>
            <pc:docMk/>
            <pc:sldMk cId="4006268866" sldId="2146847363"/>
            <ac:grpSpMk id="15" creationId="{D4559C3C-BB63-42AA-96DE-23D6E1066ECE}"/>
          </ac:grpSpMkLst>
        </pc:grpChg>
        <pc:grpChg chg="del">
          <ac:chgData name="Ghoshal, Arijit" userId="1fe70a11-147e-4d18-b15b-d5c28d3066f8" providerId="ADAL" clId="{BECBB758-BBBF-4FA2-BED7-ACD6E48E0AC4}" dt="2021-07-24T10:25:10.424" v="831" actId="478"/>
          <ac:grpSpMkLst>
            <pc:docMk/>
            <pc:sldMk cId="4006268866" sldId="2146847363"/>
            <ac:grpSpMk id="16" creationId="{BB8893EA-8670-426E-89A3-76EDD3E4A3D8}"/>
          </ac:grpSpMkLst>
        </pc:grpChg>
        <pc:grpChg chg="del">
          <ac:chgData name="Ghoshal, Arijit" userId="1fe70a11-147e-4d18-b15b-d5c28d3066f8" providerId="ADAL" clId="{BECBB758-BBBF-4FA2-BED7-ACD6E48E0AC4}" dt="2021-07-24T10:25:10.424" v="831" actId="478"/>
          <ac:grpSpMkLst>
            <pc:docMk/>
            <pc:sldMk cId="4006268866" sldId="2146847363"/>
            <ac:grpSpMk id="17" creationId="{3FB34159-6482-4F29-B9E5-602D58D5C108}"/>
          </ac:grpSpMkLst>
        </pc:grpChg>
        <pc:grpChg chg="del">
          <ac:chgData name="Ghoshal, Arijit" userId="1fe70a11-147e-4d18-b15b-d5c28d3066f8" providerId="ADAL" clId="{BECBB758-BBBF-4FA2-BED7-ACD6E48E0AC4}" dt="2021-07-24T10:25:10.424" v="831" actId="478"/>
          <ac:grpSpMkLst>
            <pc:docMk/>
            <pc:sldMk cId="4006268866" sldId="2146847363"/>
            <ac:grpSpMk id="267" creationId="{F4AB028B-BBE5-444B-92D1-D8A5F917F436}"/>
          </ac:grpSpMkLst>
        </pc:grpChg>
      </pc:sldChg>
    </pc:docChg>
  </pc:docChgLst>
  <pc:docChgLst>
    <pc:chgData name="Vallabhaneni, Sree Kavya" userId="S::sree.k.vallabhaneni@accenture.com::4c24d998-4943-407a-ac2e-54792b1a54f3" providerId="AD" clId="Web-{F1757F31-2A09-42A1-89E9-8D7778B82BD7}"/>
    <pc:docChg chg="modSld">
      <pc:chgData name="Vallabhaneni, Sree Kavya" userId="S::sree.k.vallabhaneni@accenture.com::4c24d998-4943-407a-ac2e-54792b1a54f3" providerId="AD" clId="Web-{F1757F31-2A09-42A1-89E9-8D7778B82BD7}" dt="2022-12-23T10:14:24.194" v="3" actId="20577"/>
      <pc:docMkLst>
        <pc:docMk/>
      </pc:docMkLst>
      <pc:sldChg chg="modSp">
        <pc:chgData name="Vallabhaneni, Sree Kavya" userId="S::sree.k.vallabhaneni@accenture.com::4c24d998-4943-407a-ac2e-54792b1a54f3" providerId="AD" clId="Web-{F1757F31-2A09-42A1-89E9-8D7778B82BD7}" dt="2022-12-23T10:14:24.194" v="3" actId="20577"/>
        <pc:sldMkLst>
          <pc:docMk/>
          <pc:sldMk cId="961769931" sldId="2146847388"/>
        </pc:sldMkLst>
        <pc:spChg chg="mod">
          <ac:chgData name="Vallabhaneni, Sree Kavya" userId="S::sree.k.vallabhaneni@accenture.com::4c24d998-4943-407a-ac2e-54792b1a54f3" providerId="AD" clId="Web-{F1757F31-2A09-42A1-89E9-8D7778B82BD7}" dt="2022-12-23T10:14:24.194" v="3" actId="20577"/>
          <ac:spMkLst>
            <pc:docMk/>
            <pc:sldMk cId="961769931" sldId="2146847388"/>
            <ac:spMk id="23" creationId="{1549EC7F-3A72-46CA-BABE-1882070C31CF}"/>
          </ac:spMkLst>
        </pc:spChg>
      </pc:sldChg>
    </pc:docChg>
  </pc:docChgLst>
  <pc:docChgLst>
    <pc:chgData name="Bm, Shalini S." userId="d8081e72-0fe5-4220-bd59-aabb82f4bd23" providerId="ADAL" clId="{09A17170-58D5-4A33-89EF-3D2628752A40}"/>
    <pc:docChg chg="modSld">
      <pc:chgData name="Bm, Shalini S." userId="d8081e72-0fe5-4220-bd59-aabb82f4bd23" providerId="ADAL" clId="{09A17170-58D5-4A33-89EF-3D2628752A40}" dt="2022-12-26T10:18:43.959" v="46" actId="20577"/>
      <pc:docMkLst>
        <pc:docMk/>
      </pc:docMkLst>
      <pc:sldChg chg="modSp mod">
        <pc:chgData name="Bm, Shalini S." userId="d8081e72-0fe5-4220-bd59-aabb82f4bd23" providerId="ADAL" clId="{09A17170-58D5-4A33-89EF-3D2628752A40}" dt="2022-12-23T07:40:48.828" v="8" actId="20577"/>
        <pc:sldMkLst>
          <pc:docMk/>
          <pc:sldMk cId="3350460562" sldId="2146846959"/>
        </pc:sldMkLst>
        <pc:spChg chg="mod">
          <ac:chgData name="Bm, Shalini S." userId="d8081e72-0fe5-4220-bd59-aabb82f4bd23" providerId="ADAL" clId="{09A17170-58D5-4A33-89EF-3D2628752A40}" dt="2022-12-23T07:40:48.828" v="8" actId="20577"/>
          <ac:spMkLst>
            <pc:docMk/>
            <pc:sldMk cId="3350460562" sldId="2146846959"/>
            <ac:spMk id="16" creationId="{32AF2CD8-CABA-4DD5-B152-A7475949215D}"/>
          </ac:spMkLst>
        </pc:spChg>
      </pc:sldChg>
      <pc:sldChg chg="modSp mod">
        <pc:chgData name="Bm, Shalini S." userId="d8081e72-0fe5-4220-bd59-aabb82f4bd23" providerId="ADAL" clId="{09A17170-58D5-4A33-89EF-3D2628752A40}" dt="2022-12-26T10:18:35.343" v="33" actId="20577"/>
        <pc:sldMkLst>
          <pc:docMk/>
          <pc:sldMk cId="961769931" sldId="2146847388"/>
        </pc:sldMkLst>
        <pc:spChg chg="mod">
          <ac:chgData name="Bm, Shalini S." userId="d8081e72-0fe5-4220-bd59-aabb82f4bd23" providerId="ADAL" clId="{09A17170-58D5-4A33-89EF-3D2628752A40}" dt="2022-12-23T11:36:54.902" v="16" actId="20577"/>
          <ac:spMkLst>
            <pc:docMk/>
            <pc:sldMk cId="961769931" sldId="2146847388"/>
            <ac:spMk id="3" creationId="{A58D5744-A31F-4035-8EAA-1180691C0954}"/>
          </ac:spMkLst>
        </pc:spChg>
        <pc:spChg chg="mod">
          <ac:chgData name="Bm, Shalini S." userId="d8081e72-0fe5-4220-bd59-aabb82f4bd23" providerId="ADAL" clId="{09A17170-58D5-4A33-89EF-3D2628752A40}" dt="2022-12-26T10:18:35.343" v="33" actId="20577"/>
          <ac:spMkLst>
            <pc:docMk/>
            <pc:sldMk cId="961769931" sldId="2146847388"/>
            <ac:spMk id="66" creationId="{D82B41BF-C80C-417F-9C40-7A3E6F4E4423}"/>
          </ac:spMkLst>
        </pc:spChg>
      </pc:sldChg>
      <pc:sldChg chg="modSp mod">
        <pc:chgData name="Bm, Shalini S." userId="d8081e72-0fe5-4220-bd59-aabb82f4bd23" providerId="ADAL" clId="{09A17170-58D5-4A33-89EF-3D2628752A40}" dt="2022-12-26T10:18:43.959" v="46" actId="20577"/>
        <pc:sldMkLst>
          <pc:docMk/>
          <pc:sldMk cId="2932013431" sldId="2146847389"/>
        </pc:sldMkLst>
        <pc:spChg chg="mod">
          <ac:chgData name="Bm, Shalini S." userId="d8081e72-0fe5-4220-bd59-aabb82f4bd23" providerId="ADAL" clId="{09A17170-58D5-4A33-89EF-3D2628752A40}" dt="2022-12-26T10:18:43.959" v="46" actId="20577"/>
          <ac:spMkLst>
            <pc:docMk/>
            <pc:sldMk cId="2932013431" sldId="2146847389"/>
            <ac:spMk id="37" creationId="{A93B178A-0E30-49B0-AE8C-456F3161366F}"/>
          </ac:spMkLst>
        </pc:spChg>
      </pc:sldChg>
    </pc:docChg>
  </pc:docChgLst>
  <pc:docChgLst>
    <pc:chgData name="Atkar, Devyani Anil" userId="30060140-18fd-4dc5-aee4-f2420943b387" providerId="ADAL" clId="{DF9B0C05-CC4F-4882-87E9-3A37CA25A441}"/>
    <pc:docChg chg="undo custSel addSld delSld modSld sldOrd delMainMaster delSection modSection">
      <pc:chgData name="Atkar, Devyani Anil" userId="30060140-18fd-4dc5-aee4-f2420943b387" providerId="ADAL" clId="{DF9B0C05-CC4F-4882-87E9-3A37CA25A441}" dt="2021-11-11T11:38:17.145" v="1266" actId="478"/>
      <pc:docMkLst>
        <pc:docMk/>
      </pc:docMkLst>
      <pc:sldChg chg="del mod modShow">
        <pc:chgData name="Atkar, Devyani Anil" userId="30060140-18fd-4dc5-aee4-f2420943b387" providerId="ADAL" clId="{DF9B0C05-CC4F-4882-87E9-3A37CA25A441}" dt="2021-10-20T09:05:58.105" v="202" actId="47"/>
        <pc:sldMkLst>
          <pc:docMk/>
          <pc:sldMk cId="3187321782" sldId="270"/>
        </pc:sldMkLst>
      </pc:sldChg>
      <pc:sldChg chg="modSp add del mod">
        <pc:chgData name="Atkar, Devyani Anil" userId="30060140-18fd-4dc5-aee4-f2420943b387" providerId="ADAL" clId="{DF9B0C05-CC4F-4882-87E9-3A37CA25A441}" dt="2021-10-29T09:12:47.746" v="384" actId="47"/>
        <pc:sldMkLst>
          <pc:docMk/>
          <pc:sldMk cId="3574067097" sldId="311"/>
        </pc:sldMkLst>
        <pc:spChg chg="mod">
          <ac:chgData name="Atkar, Devyani Anil" userId="30060140-18fd-4dc5-aee4-f2420943b387" providerId="ADAL" clId="{DF9B0C05-CC4F-4882-87E9-3A37CA25A441}" dt="2021-10-29T09:07:36.261" v="262" actId="27636"/>
          <ac:spMkLst>
            <pc:docMk/>
            <pc:sldMk cId="3574067097" sldId="311"/>
            <ac:spMk id="127" creationId="{075BDB4C-D3F0-4C62-80EE-6227EEF84197}"/>
          </ac:spMkLst>
        </pc:spChg>
      </pc:sldChg>
      <pc:sldChg chg="add del ord">
        <pc:chgData name="Atkar, Devyani Anil" userId="30060140-18fd-4dc5-aee4-f2420943b387" providerId="ADAL" clId="{DF9B0C05-CC4F-4882-87E9-3A37CA25A441}" dt="2021-10-29T09:12:46.753" v="383" actId="47"/>
        <pc:sldMkLst>
          <pc:docMk/>
          <pc:sldMk cId="1636085509" sldId="312"/>
        </pc:sldMkLst>
      </pc:sldChg>
      <pc:sldChg chg="add del">
        <pc:chgData name="Atkar, Devyani Anil" userId="30060140-18fd-4dc5-aee4-f2420943b387" providerId="ADAL" clId="{DF9B0C05-CC4F-4882-87E9-3A37CA25A441}" dt="2021-10-29T09:12:49.054" v="386" actId="47"/>
        <pc:sldMkLst>
          <pc:docMk/>
          <pc:sldMk cId="4036840335" sldId="316"/>
        </pc:sldMkLst>
      </pc:sldChg>
      <pc:sldChg chg="add del">
        <pc:chgData name="Atkar, Devyani Anil" userId="30060140-18fd-4dc5-aee4-f2420943b387" providerId="ADAL" clId="{DF9B0C05-CC4F-4882-87E9-3A37CA25A441}" dt="2021-10-29T09:12:48.363" v="385" actId="47"/>
        <pc:sldMkLst>
          <pc:docMk/>
          <pc:sldMk cId="1404253417" sldId="321"/>
        </pc:sldMkLst>
      </pc:sldChg>
      <pc:sldChg chg="del">
        <pc:chgData name="Atkar, Devyani Anil" userId="30060140-18fd-4dc5-aee4-f2420943b387" providerId="ADAL" clId="{DF9B0C05-CC4F-4882-87E9-3A37CA25A441}" dt="2021-10-29T09:45:02.110" v="862" actId="47"/>
        <pc:sldMkLst>
          <pc:docMk/>
          <pc:sldMk cId="1288059820" sldId="385"/>
        </pc:sldMkLst>
      </pc:sldChg>
      <pc:sldChg chg="del">
        <pc:chgData name="Atkar, Devyani Anil" userId="30060140-18fd-4dc5-aee4-f2420943b387" providerId="ADAL" clId="{DF9B0C05-CC4F-4882-87E9-3A37CA25A441}" dt="2021-10-29T09:44:59.633" v="858" actId="47"/>
        <pc:sldMkLst>
          <pc:docMk/>
          <pc:sldMk cId="1716052546" sldId="5225"/>
        </pc:sldMkLst>
      </pc:sldChg>
      <pc:sldChg chg="del">
        <pc:chgData name="Atkar, Devyani Anil" userId="30060140-18fd-4dc5-aee4-f2420943b387" providerId="ADAL" clId="{DF9B0C05-CC4F-4882-87E9-3A37CA25A441}" dt="2021-10-29T09:45:00.320" v="860" actId="47"/>
        <pc:sldMkLst>
          <pc:docMk/>
          <pc:sldMk cId="2915233218" sldId="5239"/>
        </pc:sldMkLst>
      </pc:sldChg>
      <pc:sldChg chg="del">
        <pc:chgData name="Atkar, Devyani Anil" userId="30060140-18fd-4dc5-aee4-f2420943b387" providerId="ADAL" clId="{DF9B0C05-CC4F-4882-87E9-3A37CA25A441}" dt="2021-10-29T09:44:59.981" v="859" actId="47"/>
        <pc:sldMkLst>
          <pc:docMk/>
          <pc:sldMk cId="559528724" sldId="5272"/>
        </pc:sldMkLst>
      </pc:sldChg>
      <pc:sldChg chg="modSp mod">
        <pc:chgData name="Atkar, Devyani Anil" userId="30060140-18fd-4dc5-aee4-f2420943b387" providerId="ADAL" clId="{DF9B0C05-CC4F-4882-87E9-3A37CA25A441}" dt="2021-11-08T17:07:04.868" v="1167" actId="20577"/>
        <pc:sldMkLst>
          <pc:docMk/>
          <pc:sldMk cId="3350460562" sldId="2146846959"/>
        </pc:sldMkLst>
        <pc:spChg chg="mod">
          <ac:chgData name="Atkar, Devyani Anil" userId="30060140-18fd-4dc5-aee4-f2420943b387" providerId="ADAL" clId="{DF9B0C05-CC4F-4882-87E9-3A37CA25A441}" dt="2021-11-08T17:07:04.868" v="1167" actId="20577"/>
          <ac:spMkLst>
            <pc:docMk/>
            <pc:sldMk cId="3350460562" sldId="2146846959"/>
            <ac:spMk id="11" creationId="{FEFA3494-A8DC-4F73-9B02-7BC7E741F9E0}"/>
          </ac:spMkLst>
        </pc:spChg>
      </pc:sldChg>
      <pc:sldChg chg="modSp del mod">
        <pc:chgData name="Atkar, Devyani Anil" userId="30060140-18fd-4dc5-aee4-f2420943b387" providerId="ADAL" clId="{DF9B0C05-CC4F-4882-87E9-3A37CA25A441}" dt="2021-11-08T17:03:47.266" v="1099" actId="47"/>
        <pc:sldMkLst>
          <pc:docMk/>
          <pc:sldMk cId="1882542725" sldId="2146847072"/>
        </pc:sldMkLst>
        <pc:spChg chg="mod">
          <ac:chgData name="Atkar, Devyani Anil" userId="30060140-18fd-4dc5-aee4-f2420943b387" providerId="ADAL" clId="{DF9B0C05-CC4F-4882-87E9-3A37CA25A441}" dt="2021-10-29T06:47:55.613" v="239" actId="1076"/>
          <ac:spMkLst>
            <pc:docMk/>
            <pc:sldMk cId="1882542725" sldId="2146847072"/>
            <ac:spMk id="9" creationId="{098B40A1-66CF-47D7-A1B6-70D438072029}"/>
          </ac:spMkLst>
        </pc:spChg>
        <pc:spChg chg="mod">
          <ac:chgData name="Atkar, Devyani Anil" userId="30060140-18fd-4dc5-aee4-f2420943b387" providerId="ADAL" clId="{DF9B0C05-CC4F-4882-87E9-3A37CA25A441}" dt="2021-10-29T06:47:26.732" v="233" actId="1076"/>
          <ac:spMkLst>
            <pc:docMk/>
            <pc:sldMk cId="1882542725" sldId="2146847072"/>
            <ac:spMk id="15" creationId="{0E4F3685-1BFE-4F43-A33F-BD239E29EA9B}"/>
          </ac:spMkLst>
        </pc:spChg>
        <pc:spChg chg="mod">
          <ac:chgData name="Atkar, Devyani Anil" userId="30060140-18fd-4dc5-aee4-f2420943b387" providerId="ADAL" clId="{DF9B0C05-CC4F-4882-87E9-3A37CA25A441}" dt="2021-10-29T06:47:42.096" v="236" actId="1076"/>
          <ac:spMkLst>
            <pc:docMk/>
            <pc:sldMk cId="1882542725" sldId="2146847072"/>
            <ac:spMk id="82" creationId="{1F951F9D-B8DC-4E66-A0AB-E1E8A67043F4}"/>
          </ac:spMkLst>
        </pc:spChg>
        <pc:spChg chg="mod">
          <ac:chgData name="Atkar, Devyani Anil" userId="30060140-18fd-4dc5-aee4-f2420943b387" providerId="ADAL" clId="{DF9B0C05-CC4F-4882-87E9-3A37CA25A441}" dt="2021-10-29T09:44:49.566" v="855" actId="1076"/>
          <ac:spMkLst>
            <pc:docMk/>
            <pc:sldMk cId="1882542725" sldId="2146847072"/>
            <ac:spMk id="97" creationId="{0C583243-1F3A-4581-ADD5-473B82B08554}"/>
          </ac:spMkLst>
        </pc:spChg>
      </pc:sldChg>
      <pc:sldChg chg="addSp delSp modSp mod">
        <pc:chgData name="Atkar, Devyani Anil" userId="30060140-18fd-4dc5-aee4-f2420943b387" providerId="ADAL" clId="{DF9B0C05-CC4F-4882-87E9-3A37CA25A441}" dt="2021-11-08T16:57:35.536" v="1051" actId="1036"/>
        <pc:sldMkLst>
          <pc:docMk/>
          <pc:sldMk cId="2810327613" sldId="2146847319"/>
        </pc:sldMkLst>
        <pc:spChg chg="add del mod">
          <ac:chgData name="Atkar, Devyani Anil" userId="30060140-18fd-4dc5-aee4-f2420943b387" providerId="ADAL" clId="{DF9B0C05-CC4F-4882-87E9-3A37CA25A441}" dt="2021-11-08T16:57:19.471" v="1009" actId="478"/>
          <ac:spMkLst>
            <pc:docMk/>
            <pc:sldMk cId="2810327613" sldId="2146847319"/>
            <ac:spMk id="3" creationId="{1EBF8BC2-5CBA-4C36-AD55-E2D0F1704FF6}"/>
          </ac:spMkLst>
        </pc:spChg>
        <pc:spChg chg="add del mod">
          <ac:chgData name="Atkar, Devyani Anil" userId="30060140-18fd-4dc5-aee4-f2420943b387" providerId="ADAL" clId="{DF9B0C05-CC4F-4882-87E9-3A37CA25A441}" dt="2021-11-08T16:57:19.471" v="1009" actId="478"/>
          <ac:spMkLst>
            <pc:docMk/>
            <pc:sldMk cId="2810327613" sldId="2146847319"/>
            <ac:spMk id="5" creationId="{FC181385-8123-450B-91C4-69A1624512BF}"/>
          </ac:spMkLst>
        </pc:spChg>
        <pc:spChg chg="mod">
          <ac:chgData name="Atkar, Devyani Anil" userId="30060140-18fd-4dc5-aee4-f2420943b387" providerId="ADAL" clId="{DF9B0C05-CC4F-4882-87E9-3A37CA25A441}" dt="2021-11-08T16:57:35.536" v="1051" actId="1036"/>
          <ac:spMkLst>
            <pc:docMk/>
            <pc:sldMk cId="2810327613" sldId="2146847319"/>
            <ac:spMk id="13" creationId="{7848EDF5-2654-4E40-AE94-C5EEEB63D710}"/>
          </ac:spMkLst>
        </pc:spChg>
        <pc:spChg chg="mod">
          <ac:chgData name="Atkar, Devyani Anil" userId="30060140-18fd-4dc5-aee4-f2420943b387" providerId="ADAL" clId="{DF9B0C05-CC4F-4882-87E9-3A37CA25A441}" dt="2021-11-08T16:57:28.412" v="1034" actId="1036"/>
          <ac:spMkLst>
            <pc:docMk/>
            <pc:sldMk cId="2810327613" sldId="2146847319"/>
            <ac:spMk id="14" creationId="{4A329141-5594-4568-B54A-E67F56CB1211}"/>
          </ac:spMkLst>
        </pc:spChg>
        <pc:spChg chg="del">
          <ac:chgData name="Atkar, Devyani Anil" userId="30060140-18fd-4dc5-aee4-f2420943b387" providerId="ADAL" clId="{DF9B0C05-CC4F-4882-87E9-3A37CA25A441}" dt="2021-11-08T16:57:15.506" v="1008" actId="478"/>
          <ac:spMkLst>
            <pc:docMk/>
            <pc:sldMk cId="2810327613" sldId="2146847319"/>
            <ac:spMk id="15" creationId="{93DFDB0C-2839-4F11-AA8E-9F4473D79B01}"/>
          </ac:spMkLst>
        </pc:spChg>
        <pc:spChg chg="mod">
          <ac:chgData name="Atkar, Devyani Anil" userId="30060140-18fd-4dc5-aee4-f2420943b387" providerId="ADAL" clId="{DF9B0C05-CC4F-4882-87E9-3A37CA25A441}" dt="2021-11-08T16:57:35.536" v="1051" actId="1036"/>
          <ac:spMkLst>
            <pc:docMk/>
            <pc:sldMk cId="2810327613" sldId="2146847319"/>
            <ac:spMk id="51" creationId="{1BCBE8FE-3EBC-416D-8B68-ECCBA15357F2}"/>
          </ac:spMkLst>
        </pc:spChg>
        <pc:spChg chg="mod">
          <ac:chgData name="Atkar, Devyani Anil" userId="30060140-18fd-4dc5-aee4-f2420943b387" providerId="ADAL" clId="{DF9B0C05-CC4F-4882-87E9-3A37CA25A441}" dt="2021-11-08T16:57:28.412" v="1034" actId="1036"/>
          <ac:spMkLst>
            <pc:docMk/>
            <pc:sldMk cId="2810327613" sldId="2146847319"/>
            <ac:spMk id="256" creationId="{C1404DEE-44ED-446C-8FB8-9840BF4052E6}"/>
          </ac:spMkLst>
        </pc:spChg>
        <pc:spChg chg="del">
          <ac:chgData name="Atkar, Devyani Anil" userId="30060140-18fd-4dc5-aee4-f2420943b387" providerId="ADAL" clId="{DF9B0C05-CC4F-4882-87E9-3A37CA25A441}" dt="2021-11-08T16:57:15.506" v="1008" actId="478"/>
          <ac:spMkLst>
            <pc:docMk/>
            <pc:sldMk cId="2810327613" sldId="2146847319"/>
            <ac:spMk id="257" creationId="{25F96448-F157-4068-B0B3-10812662FF62}"/>
          </ac:spMkLst>
        </pc:spChg>
      </pc:sldChg>
      <pc:sldChg chg="del">
        <pc:chgData name="Atkar, Devyani Anil" userId="30060140-18fd-4dc5-aee4-f2420943b387" providerId="ADAL" clId="{DF9B0C05-CC4F-4882-87E9-3A37CA25A441}" dt="2021-10-29T09:45:01.487" v="861" actId="47"/>
        <pc:sldMkLst>
          <pc:docMk/>
          <pc:sldMk cId="3272510100" sldId="2146847321"/>
        </pc:sldMkLst>
      </pc:sldChg>
      <pc:sldChg chg="modSp mod">
        <pc:chgData name="Atkar, Devyani Anil" userId="30060140-18fd-4dc5-aee4-f2420943b387" providerId="ADAL" clId="{DF9B0C05-CC4F-4882-87E9-3A37CA25A441}" dt="2021-11-09T04:46:44.909" v="1179" actId="20577"/>
        <pc:sldMkLst>
          <pc:docMk/>
          <pc:sldMk cId="4011072619" sldId="2146847328"/>
        </pc:sldMkLst>
        <pc:spChg chg="mod">
          <ac:chgData name="Atkar, Devyani Anil" userId="30060140-18fd-4dc5-aee4-f2420943b387" providerId="ADAL" clId="{DF9B0C05-CC4F-4882-87E9-3A37CA25A441}" dt="2021-11-09T04:46:17.233" v="1175" actId="20577"/>
          <ac:spMkLst>
            <pc:docMk/>
            <pc:sldMk cId="4011072619" sldId="2146847328"/>
            <ac:spMk id="13" creationId="{6FF6985F-A826-4032-A861-E6E605AB7544}"/>
          </ac:spMkLst>
        </pc:spChg>
        <pc:spChg chg="mod">
          <ac:chgData name="Atkar, Devyani Anil" userId="30060140-18fd-4dc5-aee4-f2420943b387" providerId="ADAL" clId="{DF9B0C05-CC4F-4882-87E9-3A37CA25A441}" dt="2021-11-09T04:46:44.909" v="1179" actId="20577"/>
          <ac:spMkLst>
            <pc:docMk/>
            <pc:sldMk cId="4011072619" sldId="2146847328"/>
            <ac:spMk id="495" creationId="{3C78D542-7D5A-4D20-8F5E-7D83B478A691}"/>
          </ac:spMkLst>
        </pc:spChg>
      </pc:sldChg>
      <pc:sldChg chg="del">
        <pc:chgData name="Atkar, Devyani Anil" userId="30060140-18fd-4dc5-aee4-f2420943b387" providerId="ADAL" clId="{DF9B0C05-CC4F-4882-87E9-3A37CA25A441}" dt="2021-10-20T09:06:19.067" v="207" actId="47"/>
        <pc:sldMkLst>
          <pc:docMk/>
          <pc:sldMk cId="3265992714" sldId="2146847331"/>
        </pc:sldMkLst>
      </pc:sldChg>
      <pc:sldChg chg="del">
        <pc:chgData name="Atkar, Devyani Anil" userId="30060140-18fd-4dc5-aee4-f2420943b387" providerId="ADAL" clId="{DF9B0C05-CC4F-4882-87E9-3A37CA25A441}" dt="2021-10-20T09:06:19.452" v="208" actId="47"/>
        <pc:sldMkLst>
          <pc:docMk/>
          <pc:sldMk cId="3621569684" sldId="2146847333"/>
        </pc:sldMkLst>
      </pc:sldChg>
      <pc:sldChg chg="del">
        <pc:chgData name="Atkar, Devyani Anil" userId="30060140-18fd-4dc5-aee4-f2420943b387" providerId="ADAL" clId="{DF9B0C05-CC4F-4882-87E9-3A37CA25A441}" dt="2021-10-20T09:06:20.115" v="209" actId="47"/>
        <pc:sldMkLst>
          <pc:docMk/>
          <pc:sldMk cId="1041264545" sldId="2146847335"/>
        </pc:sldMkLst>
      </pc:sldChg>
      <pc:sldChg chg="del">
        <pc:chgData name="Atkar, Devyani Anil" userId="30060140-18fd-4dc5-aee4-f2420943b387" providerId="ADAL" clId="{DF9B0C05-CC4F-4882-87E9-3A37CA25A441}" dt="2021-10-20T09:06:20.632" v="210" actId="47"/>
        <pc:sldMkLst>
          <pc:docMk/>
          <pc:sldMk cId="1504727752" sldId="2146847337"/>
        </pc:sldMkLst>
      </pc:sldChg>
      <pc:sldChg chg="del">
        <pc:chgData name="Atkar, Devyani Anil" userId="30060140-18fd-4dc5-aee4-f2420943b387" providerId="ADAL" clId="{DF9B0C05-CC4F-4882-87E9-3A37CA25A441}" dt="2021-10-20T09:06:21.220" v="211" actId="47"/>
        <pc:sldMkLst>
          <pc:docMk/>
          <pc:sldMk cId="2802152787" sldId="2146847339"/>
        </pc:sldMkLst>
      </pc:sldChg>
      <pc:sldChg chg="del">
        <pc:chgData name="Atkar, Devyani Anil" userId="30060140-18fd-4dc5-aee4-f2420943b387" providerId="ADAL" clId="{DF9B0C05-CC4F-4882-87E9-3A37CA25A441}" dt="2021-10-20T09:06:21.869" v="212" actId="47"/>
        <pc:sldMkLst>
          <pc:docMk/>
          <pc:sldMk cId="3626882665" sldId="2146847341"/>
        </pc:sldMkLst>
      </pc:sldChg>
      <pc:sldChg chg="del">
        <pc:chgData name="Atkar, Devyani Anil" userId="30060140-18fd-4dc5-aee4-f2420943b387" providerId="ADAL" clId="{DF9B0C05-CC4F-4882-87E9-3A37CA25A441}" dt="2021-10-20T09:06:22.430" v="213" actId="47"/>
        <pc:sldMkLst>
          <pc:docMk/>
          <pc:sldMk cId="37923841" sldId="2146847343"/>
        </pc:sldMkLst>
      </pc:sldChg>
      <pc:sldChg chg="del">
        <pc:chgData name="Atkar, Devyani Anil" userId="30060140-18fd-4dc5-aee4-f2420943b387" providerId="ADAL" clId="{DF9B0C05-CC4F-4882-87E9-3A37CA25A441}" dt="2021-10-20T09:06:23.011" v="214" actId="47"/>
        <pc:sldMkLst>
          <pc:docMk/>
          <pc:sldMk cId="1058491955" sldId="2146847345"/>
        </pc:sldMkLst>
      </pc:sldChg>
      <pc:sldChg chg="del">
        <pc:chgData name="Atkar, Devyani Anil" userId="30060140-18fd-4dc5-aee4-f2420943b387" providerId="ADAL" clId="{DF9B0C05-CC4F-4882-87E9-3A37CA25A441}" dt="2021-10-20T09:06:23.628" v="215" actId="47"/>
        <pc:sldMkLst>
          <pc:docMk/>
          <pc:sldMk cId="3885648536" sldId="2146847347"/>
        </pc:sldMkLst>
      </pc:sldChg>
      <pc:sldChg chg="del">
        <pc:chgData name="Atkar, Devyani Anil" userId="30060140-18fd-4dc5-aee4-f2420943b387" providerId="ADAL" clId="{DF9B0C05-CC4F-4882-87E9-3A37CA25A441}" dt="2021-10-20T09:06:24.264" v="216" actId="47"/>
        <pc:sldMkLst>
          <pc:docMk/>
          <pc:sldMk cId="836368788" sldId="2146847349"/>
        </pc:sldMkLst>
      </pc:sldChg>
      <pc:sldChg chg="del">
        <pc:chgData name="Atkar, Devyani Anil" userId="30060140-18fd-4dc5-aee4-f2420943b387" providerId="ADAL" clId="{DF9B0C05-CC4F-4882-87E9-3A37CA25A441}" dt="2021-10-20T09:06:24.915" v="217" actId="47"/>
        <pc:sldMkLst>
          <pc:docMk/>
          <pc:sldMk cId="1338665722" sldId="2146847351"/>
        </pc:sldMkLst>
      </pc:sldChg>
      <pc:sldChg chg="del">
        <pc:chgData name="Atkar, Devyani Anil" userId="30060140-18fd-4dc5-aee4-f2420943b387" providerId="ADAL" clId="{DF9B0C05-CC4F-4882-87E9-3A37CA25A441}" dt="2021-10-20T09:06:25.565" v="218" actId="47"/>
        <pc:sldMkLst>
          <pc:docMk/>
          <pc:sldMk cId="798288387" sldId="2146847353"/>
        </pc:sldMkLst>
      </pc:sldChg>
      <pc:sldChg chg="del">
        <pc:chgData name="Atkar, Devyani Anil" userId="30060140-18fd-4dc5-aee4-f2420943b387" providerId="ADAL" clId="{DF9B0C05-CC4F-4882-87E9-3A37CA25A441}" dt="2021-10-20T09:06:26.536" v="219" actId="47"/>
        <pc:sldMkLst>
          <pc:docMk/>
          <pc:sldMk cId="412422343" sldId="2146847355"/>
        </pc:sldMkLst>
      </pc:sldChg>
      <pc:sldChg chg="del">
        <pc:chgData name="Atkar, Devyani Anil" userId="30060140-18fd-4dc5-aee4-f2420943b387" providerId="ADAL" clId="{DF9B0C05-CC4F-4882-87E9-3A37CA25A441}" dt="2021-10-20T09:06:27.259" v="220" actId="47"/>
        <pc:sldMkLst>
          <pc:docMk/>
          <pc:sldMk cId="1976825128" sldId="2146847357"/>
        </pc:sldMkLst>
      </pc:sldChg>
      <pc:sldChg chg="del">
        <pc:chgData name="Atkar, Devyani Anil" userId="30060140-18fd-4dc5-aee4-f2420943b387" providerId="ADAL" clId="{DF9B0C05-CC4F-4882-87E9-3A37CA25A441}" dt="2021-10-20T09:06:18.160" v="205" actId="47"/>
        <pc:sldMkLst>
          <pc:docMk/>
          <pc:sldMk cId="1034607313" sldId="2146847359"/>
        </pc:sldMkLst>
      </pc:sldChg>
      <pc:sldChg chg="del">
        <pc:chgData name="Atkar, Devyani Anil" userId="30060140-18fd-4dc5-aee4-f2420943b387" providerId="ADAL" clId="{DF9B0C05-CC4F-4882-87E9-3A37CA25A441}" dt="2021-10-20T09:06:17.580" v="204" actId="47"/>
        <pc:sldMkLst>
          <pc:docMk/>
          <pc:sldMk cId="285039437" sldId="2146847361"/>
        </pc:sldMkLst>
      </pc:sldChg>
      <pc:sldChg chg="del">
        <pc:chgData name="Atkar, Devyani Anil" userId="30060140-18fd-4dc5-aee4-f2420943b387" providerId="ADAL" clId="{DF9B0C05-CC4F-4882-87E9-3A37CA25A441}" dt="2021-10-20T09:06:18.629" v="206" actId="47"/>
        <pc:sldMkLst>
          <pc:docMk/>
          <pc:sldMk cId="314092815" sldId="2146847362"/>
        </pc:sldMkLst>
      </pc:sldChg>
      <pc:sldChg chg="delSp modSp mod">
        <pc:chgData name="Atkar, Devyani Anil" userId="30060140-18fd-4dc5-aee4-f2420943b387" providerId="ADAL" clId="{DF9B0C05-CC4F-4882-87E9-3A37CA25A441}" dt="2021-11-11T11:38:01.064" v="1263" actId="478"/>
        <pc:sldMkLst>
          <pc:docMk/>
          <pc:sldMk cId="1760734549" sldId="2146847363"/>
        </pc:sldMkLst>
        <pc:spChg chg="mod">
          <ac:chgData name="Atkar, Devyani Anil" userId="30060140-18fd-4dc5-aee4-f2420943b387" providerId="ADAL" clId="{DF9B0C05-CC4F-4882-87E9-3A37CA25A441}" dt="2021-10-18T08:53:22.055" v="168" actId="1035"/>
          <ac:spMkLst>
            <pc:docMk/>
            <pc:sldMk cId="1760734549" sldId="2146847363"/>
            <ac:spMk id="4" creationId="{B38B14AF-B49F-41F5-8E26-05096D2E63C3}"/>
          </ac:spMkLst>
        </pc:spChg>
        <pc:spChg chg="del">
          <ac:chgData name="Atkar, Devyani Anil" userId="30060140-18fd-4dc5-aee4-f2420943b387" providerId="ADAL" clId="{DF9B0C05-CC4F-4882-87E9-3A37CA25A441}" dt="2021-11-11T11:36:03.184" v="1180" actId="478"/>
          <ac:spMkLst>
            <pc:docMk/>
            <pc:sldMk cId="1760734549" sldId="2146847363"/>
            <ac:spMk id="5" creationId="{66A3ABC5-B23B-469C-9D3F-8BC9BFE1939B}"/>
          </ac:spMkLst>
        </pc:spChg>
        <pc:spChg chg="del mod">
          <ac:chgData name="Atkar, Devyani Anil" userId="30060140-18fd-4dc5-aee4-f2420943b387" providerId="ADAL" clId="{DF9B0C05-CC4F-4882-87E9-3A37CA25A441}" dt="2021-11-11T11:38:01.064" v="1263" actId="478"/>
          <ac:spMkLst>
            <pc:docMk/>
            <pc:sldMk cId="1760734549" sldId="2146847363"/>
            <ac:spMk id="6" creationId="{E6C875C2-51DC-4FCC-B56D-33A22F8010C9}"/>
          </ac:spMkLst>
        </pc:spChg>
        <pc:spChg chg="mod">
          <ac:chgData name="Atkar, Devyani Anil" userId="30060140-18fd-4dc5-aee4-f2420943b387" providerId="ADAL" clId="{DF9B0C05-CC4F-4882-87E9-3A37CA25A441}" dt="2021-11-11T11:36:52.027" v="1235" actId="14100"/>
          <ac:spMkLst>
            <pc:docMk/>
            <pc:sldMk cId="1760734549" sldId="2146847363"/>
            <ac:spMk id="13" creationId="{D77DC8D4-9E3B-4E17-82AD-FD6C83141CDD}"/>
          </ac:spMkLst>
        </pc:spChg>
        <pc:spChg chg="mod">
          <ac:chgData name="Atkar, Devyani Anil" userId="30060140-18fd-4dc5-aee4-f2420943b387" providerId="ADAL" clId="{DF9B0C05-CC4F-4882-87E9-3A37CA25A441}" dt="2021-11-11T11:36:36.568" v="1225" actId="1038"/>
          <ac:spMkLst>
            <pc:docMk/>
            <pc:sldMk cId="1760734549" sldId="2146847363"/>
            <ac:spMk id="14" creationId="{4C76733A-C760-4BDA-A080-3216B1126CAA}"/>
          </ac:spMkLst>
        </pc:spChg>
        <pc:spChg chg="mod">
          <ac:chgData name="Atkar, Devyani Anil" userId="30060140-18fd-4dc5-aee4-f2420943b387" providerId="ADAL" clId="{DF9B0C05-CC4F-4882-87E9-3A37CA25A441}" dt="2021-11-11T11:36:36.568" v="1225" actId="1038"/>
          <ac:spMkLst>
            <pc:docMk/>
            <pc:sldMk cId="1760734549" sldId="2146847363"/>
            <ac:spMk id="15" creationId="{544DE2AC-7B58-4A86-A0F9-1BDC883F2C85}"/>
          </ac:spMkLst>
        </pc:spChg>
        <pc:spChg chg="mod">
          <ac:chgData name="Atkar, Devyani Anil" userId="30060140-18fd-4dc5-aee4-f2420943b387" providerId="ADAL" clId="{DF9B0C05-CC4F-4882-87E9-3A37CA25A441}" dt="2021-11-11T11:36:36.568" v="1225" actId="1038"/>
          <ac:spMkLst>
            <pc:docMk/>
            <pc:sldMk cId="1760734549" sldId="2146847363"/>
            <ac:spMk id="19" creationId="{B83DA935-4FC8-41C1-92AE-C313A09EF61D}"/>
          </ac:spMkLst>
        </pc:spChg>
        <pc:spChg chg="mod">
          <ac:chgData name="Atkar, Devyani Anil" userId="30060140-18fd-4dc5-aee4-f2420943b387" providerId="ADAL" clId="{DF9B0C05-CC4F-4882-87E9-3A37CA25A441}" dt="2021-11-11T11:36:36.568" v="1225" actId="1038"/>
          <ac:spMkLst>
            <pc:docMk/>
            <pc:sldMk cId="1760734549" sldId="2146847363"/>
            <ac:spMk id="33" creationId="{54FD6896-CB7B-4246-8EE6-167FEC047C04}"/>
          </ac:spMkLst>
        </pc:spChg>
        <pc:spChg chg="mod">
          <ac:chgData name="Atkar, Devyani Anil" userId="30060140-18fd-4dc5-aee4-f2420943b387" providerId="ADAL" clId="{DF9B0C05-CC4F-4882-87E9-3A37CA25A441}" dt="2021-11-11T11:36:36.568" v="1225" actId="1038"/>
          <ac:spMkLst>
            <pc:docMk/>
            <pc:sldMk cId="1760734549" sldId="2146847363"/>
            <ac:spMk id="34" creationId="{A1AE4217-AA23-448A-9004-B8AFA0C93F54}"/>
          </ac:spMkLst>
        </pc:spChg>
        <pc:spChg chg="mod">
          <ac:chgData name="Atkar, Devyani Anil" userId="30060140-18fd-4dc5-aee4-f2420943b387" providerId="ADAL" clId="{DF9B0C05-CC4F-4882-87E9-3A37CA25A441}" dt="2021-11-11T11:36:36.568" v="1225" actId="1038"/>
          <ac:spMkLst>
            <pc:docMk/>
            <pc:sldMk cId="1760734549" sldId="2146847363"/>
            <ac:spMk id="35" creationId="{4E58F28A-8086-4215-ADA6-DD66FC3BE587}"/>
          </ac:spMkLst>
        </pc:spChg>
        <pc:spChg chg="mod">
          <ac:chgData name="Atkar, Devyani Anil" userId="30060140-18fd-4dc5-aee4-f2420943b387" providerId="ADAL" clId="{DF9B0C05-CC4F-4882-87E9-3A37CA25A441}" dt="2021-11-11T11:37:04.212" v="1241" actId="20577"/>
          <ac:spMkLst>
            <pc:docMk/>
            <pc:sldMk cId="1760734549" sldId="2146847363"/>
            <ac:spMk id="36" creationId="{CB920E0A-295B-47B9-882B-000DCDD20F18}"/>
          </ac:spMkLst>
        </pc:spChg>
        <pc:spChg chg="mod">
          <ac:chgData name="Atkar, Devyani Anil" userId="30060140-18fd-4dc5-aee4-f2420943b387" providerId="ADAL" clId="{DF9B0C05-CC4F-4882-87E9-3A37CA25A441}" dt="2021-11-11T11:36:36.568" v="1225" actId="1038"/>
          <ac:spMkLst>
            <pc:docMk/>
            <pc:sldMk cId="1760734549" sldId="2146847363"/>
            <ac:spMk id="37" creationId="{CB4B2606-EC40-4D1B-B58C-4FDFB1D0414B}"/>
          </ac:spMkLst>
        </pc:spChg>
        <pc:spChg chg="mod">
          <ac:chgData name="Atkar, Devyani Anil" userId="30060140-18fd-4dc5-aee4-f2420943b387" providerId="ADAL" clId="{DF9B0C05-CC4F-4882-87E9-3A37CA25A441}" dt="2021-11-11T11:36:36.568" v="1225" actId="1038"/>
          <ac:spMkLst>
            <pc:docMk/>
            <pc:sldMk cId="1760734549" sldId="2146847363"/>
            <ac:spMk id="38" creationId="{6CBD3D34-1F88-429C-8139-BBC6860F2CCA}"/>
          </ac:spMkLst>
        </pc:spChg>
        <pc:spChg chg="mod">
          <ac:chgData name="Atkar, Devyani Anil" userId="30060140-18fd-4dc5-aee4-f2420943b387" providerId="ADAL" clId="{DF9B0C05-CC4F-4882-87E9-3A37CA25A441}" dt="2021-11-11T11:36:36.568" v="1225" actId="1038"/>
          <ac:spMkLst>
            <pc:docMk/>
            <pc:sldMk cId="1760734549" sldId="2146847363"/>
            <ac:spMk id="39" creationId="{39563CEA-1065-4C65-B3B4-F5C56F2AD955}"/>
          </ac:spMkLst>
        </pc:spChg>
        <pc:spChg chg="del mod">
          <ac:chgData name="Atkar, Devyani Anil" userId="30060140-18fd-4dc5-aee4-f2420943b387" providerId="ADAL" clId="{DF9B0C05-CC4F-4882-87E9-3A37CA25A441}" dt="2021-11-11T11:36:22.831" v="1184" actId="478"/>
          <ac:spMkLst>
            <pc:docMk/>
            <pc:sldMk cId="1760734549" sldId="2146847363"/>
            <ac:spMk id="40" creationId="{183A160A-C927-4E65-9068-A85095B865DA}"/>
          </ac:spMkLst>
        </pc:spChg>
        <pc:spChg chg="mod">
          <ac:chgData name="Atkar, Devyani Anil" userId="30060140-18fd-4dc5-aee4-f2420943b387" providerId="ADAL" clId="{DF9B0C05-CC4F-4882-87E9-3A37CA25A441}" dt="2021-11-11T11:36:57.615" v="1237" actId="20577"/>
          <ac:spMkLst>
            <pc:docMk/>
            <pc:sldMk cId="1760734549" sldId="2146847363"/>
            <ac:spMk id="41" creationId="{D93E3073-9D08-43FF-90D0-46923245C628}"/>
          </ac:spMkLst>
        </pc:spChg>
        <pc:spChg chg="mod">
          <ac:chgData name="Atkar, Devyani Anil" userId="30060140-18fd-4dc5-aee4-f2420943b387" providerId="ADAL" clId="{DF9B0C05-CC4F-4882-87E9-3A37CA25A441}" dt="2021-11-11T11:37:09.376" v="1245" actId="20577"/>
          <ac:spMkLst>
            <pc:docMk/>
            <pc:sldMk cId="1760734549" sldId="2146847363"/>
            <ac:spMk id="42" creationId="{6139345E-9A9B-42F1-9331-546A707AC335}"/>
          </ac:spMkLst>
        </pc:spChg>
        <pc:spChg chg="mod">
          <ac:chgData name="Atkar, Devyani Anil" userId="30060140-18fd-4dc5-aee4-f2420943b387" providerId="ADAL" clId="{DF9B0C05-CC4F-4882-87E9-3A37CA25A441}" dt="2021-11-11T11:37:21.023" v="1249" actId="20577"/>
          <ac:spMkLst>
            <pc:docMk/>
            <pc:sldMk cId="1760734549" sldId="2146847363"/>
            <ac:spMk id="43" creationId="{B8281765-7A6B-4747-AAE2-86B1472B8C8F}"/>
          </ac:spMkLst>
        </pc:spChg>
        <pc:graphicFrameChg chg="mod modGraphic">
          <ac:chgData name="Atkar, Devyani Anil" userId="30060140-18fd-4dc5-aee4-f2420943b387" providerId="ADAL" clId="{DF9B0C05-CC4F-4882-87E9-3A37CA25A441}" dt="2021-11-11T11:37:57.118" v="1261" actId="207"/>
          <ac:graphicFrameMkLst>
            <pc:docMk/>
            <pc:sldMk cId="1760734549" sldId="2146847363"/>
            <ac:graphicFrameMk id="12" creationId="{18069194-4058-49E6-BA4C-7954C0646E61}"/>
          </ac:graphicFrameMkLst>
        </pc:graphicFrameChg>
      </pc:sldChg>
      <pc:sldChg chg="delSp modSp mod">
        <pc:chgData name="Atkar, Devyani Anil" userId="30060140-18fd-4dc5-aee4-f2420943b387" providerId="ADAL" clId="{DF9B0C05-CC4F-4882-87E9-3A37CA25A441}" dt="2021-11-08T17:03:08.762" v="1098" actId="2165"/>
        <pc:sldMkLst>
          <pc:docMk/>
          <pc:sldMk cId="3900431786" sldId="2146847365"/>
        </pc:sldMkLst>
        <pc:spChg chg="del mod">
          <ac:chgData name="Atkar, Devyani Anil" userId="30060140-18fd-4dc5-aee4-f2420943b387" providerId="ADAL" clId="{DF9B0C05-CC4F-4882-87E9-3A37CA25A441}" dt="2021-11-08T17:03:03.492" v="1097" actId="478"/>
          <ac:spMkLst>
            <pc:docMk/>
            <pc:sldMk cId="3900431786" sldId="2146847365"/>
            <ac:spMk id="14" creationId="{B151397E-A358-48ED-87D9-8AF47DEFA3C3}"/>
          </ac:spMkLst>
        </pc:spChg>
        <pc:graphicFrameChg chg="mod modGraphic">
          <ac:chgData name="Atkar, Devyani Anil" userId="30060140-18fd-4dc5-aee4-f2420943b387" providerId="ADAL" clId="{DF9B0C05-CC4F-4882-87E9-3A37CA25A441}" dt="2021-11-08T17:03:08.762" v="1098" actId="2165"/>
          <ac:graphicFrameMkLst>
            <pc:docMk/>
            <pc:sldMk cId="3900431786" sldId="2146847365"/>
            <ac:graphicFrameMk id="12" creationId="{18069194-4058-49E6-BA4C-7954C0646E61}"/>
          </ac:graphicFrameMkLst>
        </pc:graphicFrameChg>
      </pc:sldChg>
      <pc:sldChg chg="delSp modSp mod">
        <pc:chgData name="Atkar, Devyani Anil" userId="30060140-18fd-4dc5-aee4-f2420943b387" providerId="ADAL" clId="{DF9B0C05-CC4F-4882-87E9-3A37CA25A441}" dt="2021-11-11T11:38:17.145" v="1266" actId="478"/>
        <pc:sldMkLst>
          <pc:docMk/>
          <pc:sldMk cId="1840630185" sldId="2146847366"/>
        </pc:sldMkLst>
        <pc:spChg chg="del mod">
          <ac:chgData name="Atkar, Devyani Anil" userId="30060140-18fd-4dc5-aee4-f2420943b387" providerId="ADAL" clId="{DF9B0C05-CC4F-4882-87E9-3A37CA25A441}" dt="2021-11-11T11:38:17.145" v="1266" actId="478"/>
          <ac:spMkLst>
            <pc:docMk/>
            <pc:sldMk cId="1840630185" sldId="2146847366"/>
            <ac:spMk id="11" creationId="{360D6157-255A-4B31-BE74-8FEF765C165E}"/>
          </ac:spMkLst>
        </pc:spChg>
        <pc:graphicFrameChg chg="mod modGraphic">
          <ac:chgData name="Atkar, Devyani Anil" userId="30060140-18fd-4dc5-aee4-f2420943b387" providerId="ADAL" clId="{DF9B0C05-CC4F-4882-87E9-3A37CA25A441}" dt="2021-11-11T11:38:13.774" v="1264" actId="13926"/>
          <ac:graphicFrameMkLst>
            <pc:docMk/>
            <pc:sldMk cId="1840630185" sldId="2146847366"/>
            <ac:graphicFrameMk id="12" creationId="{18069194-4058-49E6-BA4C-7954C0646E61}"/>
          </ac:graphicFrameMkLst>
        </pc:graphicFrameChg>
      </pc:sldChg>
      <pc:sldChg chg="delSp modSp mod">
        <pc:chgData name="Atkar, Devyani Anil" userId="30060140-18fd-4dc5-aee4-f2420943b387" providerId="ADAL" clId="{DF9B0C05-CC4F-4882-87E9-3A37CA25A441}" dt="2021-11-08T16:59:25.984" v="1061" actId="120"/>
        <pc:sldMkLst>
          <pc:docMk/>
          <pc:sldMk cId="3935458817" sldId="2146847367"/>
        </pc:sldMkLst>
        <pc:spChg chg="del">
          <ac:chgData name="Atkar, Devyani Anil" userId="30060140-18fd-4dc5-aee4-f2420943b387" providerId="ADAL" clId="{DF9B0C05-CC4F-4882-87E9-3A37CA25A441}" dt="2021-10-04T12:59:45.772" v="5" actId="478"/>
          <ac:spMkLst>
            <pc:docMk/>
            <pc:sldMk cId="3935458817" sldId="2146847367"/>
            <ac:spMk id="5" creationId="{357843C2-123D-4691-A34B-DDBAECFF8CB2}"/>
          </ac:spMkLst>
        </pc:spChg>
        <pc:spChg chg="mod">
          <ac:chgData name="Atkar, Devyani Anil" userId="30060140-18fd-4dc5-aee4-f2420943b387" providerId="ADAL" clId="{DF9B0C05-CC4F-4882-87E9-3A37CA25A441}" dt="2021-11-08T16:58:08.858" v="1055" actId="552"/>
          <ac:spMkLst>
            <pc:docMk/>
            <pc:sldMk cId="3935458817" sldId="2146847367"/>
            <ac:spMk id="219" creationId="{5CFFF38E-F420-49F2-8564-D4E915E13AA9}"/>
          </ac:spMkLst>
        </pc:spChg>
        <pc:spChg chg="mod topLvl">
          <ac:chgData name="Atkar, Devyani Anil" userId="30060140-18fd-4dc5-aee4-f2420943b387" providerId="ADAL" clId="{DF9B0C05-CC4F-4882-87E9-3A37CA25A441}" dt="2021-11-08T16:58:21.956" v="1056" actId="165"/>
          <ac:spMkLst>
            <pc:docMk/>
            <pc:sldMk cId="3935458817" sldId="2146847367"/>
            <ac:spMk id="235" creationId="{8A9BBD32-2799-434C-B487-648A507DFAA7}"/>
          </ac:spMkLst>
        </pc:spChg>
        <pc:spChg chg="mod topLvl">
          <ac:chgData name="Atkar, Devyani Anil" userId="30060140-18fd-4dc5-aee4-f2420943b387" providerId="ADAL" clId="{DF9B0C05-CC4F-4882-87E9-3A37CA25A441}" dt="2021-11-08T16:58:21.956" v="1056" actId="165"/>
          <ac:spMkLst>
            <pc:docMk/>
            <pc:sldMk cId="3935458817" sldId="2146847367"/>
            <ac:spMk id="236" creationId="{3B3A2D9A-5E99-4356-B2A9-5450CC1B346B}"/>
          </ac:spMkLst>
        </pc:spChg>
        <pc:spChg chg="mod topLvl">
          <ac:chgData name="Atkar, Devyani Anil" userId="30060140-18fd-4dc5-aee4-f2420943b387" providerId="ADAL" clId="{DF9B0C05-CC4F-4882-87E9-3A37CA25A441}" dt="2021-11-08T16:58:21.956" v="1056" actId="165"/>
          <ac:spMkLst>
            <pc:docMk/>
            <pc:sldMk cId="3935458817" sldId="2146847367"/>
            <ac:spMk id="237" creationId="{C5497DF1-D696-4DC6-915E-9129F32B1F4A}"/>
          </ac:spMkLst>
        </pc:spChg>
        <pc:spChg chg="mod topLvl">
          <ac:chgData name="Atkar, Devyani Anil" userId="30060140-18fd-4dc5-aee4-f2420943b387" providerId="ADAL" clId="{DF9B0C05-CC4F-4882-87E9-3A37CA25A441}" dt="2021-11-08T16:58:21.956" v="1056" actId="165"/>
          <ac:spMkLst>
            <pc:docMk/>
            <pc:sldMk cId="3935458817" sldId="2146847367"/>
            <ac:spMk id="238" creationId="{9F4A629B-A5D0-4FDF-8442-FFC1DD04C67B}"/>
          </ac:spMkLst>
        </pc:spChg>
        <pc:spChg chg="mod topLvl">
          <ac:chgData name="Atkar, Devyani Anil" userId="30060140-18fd-4dc5-aee4-f2420943b387" providerId="ADAL" clId="{DF9B0C05-CC4F-4882-87E9-3A37CA25A441}" dt="2021-11-08T16:58:21.956" v="1056" actId="165"/>
          <ac:spMkLst>
            <pc:docMk/>
            <pc:sldMk cId="3935458817" sldId="2146847367"/>
            <ac:spMk id="239" creationId="{0296D15C-2288-48C3-B6B4-C97E74912B0B}"/>
          </ac:spMkLst>
        </pc:spChg>
        <pc:spChg chg="mod topLvl">
          <ac:chgData name="Atkar, Devyani Anil" userId="30060140-18fd-4dc5-aee4-f2420943b387" providerId="ADAL" clId="{DF9B0C05-CC4F-4882-87E9-3A37CA25A441}" dt="2021-11-08T16:58:21.956" v="1056" actId="165"/>
          <ac:spMkLst>
            <pc:docMk/>
            <pc:sldMk cId="3935458817" sldId="2146847367"/>
            <ac:spMk id="240" creationId="{BC5720C9-B08C-45ED-B40E-7AC797287608}"/>
          </ac:spMkLst>
        </pc:spChg>
        <pc:spChg chg="mod topLvl">
          <ac:chgData name="Atkar, Devyani Anil" userId="30060140-18fd-4dc5-aee4-f2420943b387" providerId="ADAL" clId="{DF9B0C05-CC4F-4882-87E9-3A37CA25A441}" dt="2021-11-08T16:58:21.956" v="1056" actId="165"/>
          <ac:spMkLst>
            <pc:docMk/>
            <pc:sldMk cId="3935458817" sldId="2146847367"/>
            <ac:spMk id="241" creationId="{1AF2DA1A-FF0A-4168-85F6-55559EE1C7C4}"/>
          </ac:spMkLst>
        </pc:spChg>
        <pc:spChg chg="mod topLvl">
          <ac:chgData name="Atkar, Devyani Anil" userId="30060140-18fd-4dc5-aee4-f2420943b387" providerId="ADAL" clId="{DF9B0C05-CC4F-4882-87E9-3A37CA25A441}" dt="2021-11-08T16:58:21.956" v="1056" actId="165"/>
          <ac:spMkLst>
            <pc:docMk/>
            <pc:sldMk cId="3935458817" sldId="2146847367"/>
            <ac:spMk id="242" creationId="{4564FCB3-7777-4AD5-82CD-33124E931665}"/>
          </ac:spMkLst>
        </pc:spChg>
        <pc:spChg chg="mod topLvl">
          <ac:chgData name="Atkar, Devyani Anil" userId="30060140-18fd-4dc5-aee4-f2420943b387" providerId="ADAL" clId="{DF9B0C05-CC4F-4882-87E9-3A37CA25A441}" dt="2021-11-08T16:58:21.956" v="1056" actId="165"/>
          <ac:spMkLst>
            <pc:docMk/>
            <pc:sldMk cId="3935458817" sldId="2146847367"/>
            <ac:spMk id="243" creationId="{FA3D1C4C-3921-4E0A-8555-E2A3957FA760}"/>
          </ac:spMkLst>
        </pc:spChg>
        <pc:spChg chg="mod topLvl">
          <ac:chgData name="Atkar, Devyani Anil" userId="30060140-18fd-4dc5-aee4-f2420943b387" providerId="ADAL" clId="{DF9B0C05-CC4F-4882-87E9-3A37CA25A441}" dt="2021-11-08T16:58:21.956" v="1056" actId="165"/>
          <ac:spMkLst>
            <pc:docMk/>
            <pc:sldMk cId="3935458817" sldId="2146847367"/>
            <ac:spMk id="244" creationId="{941C877E-250A-4749-A6EB-8692FE1E3D04}"/>
          </ac:spMkLst>
        </pc:spChg>
        <pc:spChg chg="mod topLvl">
          <ac:chgData name="Atkar, Devyani Anil" userId="30060140-18fd-4dc5-aee4-f2420943b387" providerId="ADAL" clId="{DF9B0C05-CC4F-4882-87E9-3A37CA25A441}" dt="2021-11-08T16:58:21.956" v="1056" actId="165"/>
          <ac:spMkLst>
            <pc:docMk/>
            <pc:sldMk cId="3935458817" sldId="2146847367"/>
            <ac:spMk id="245" creationId="{D20002F8-AB63-4D96-9F93-CC72EDFD33B2}"/>
          </ac:spMkLst>
        </pc:spChg>
        <pc:spChg chg="mod topLvl">
          <ac:chgData name="Atkar, Devyani Anil" userId="30060140-18fd-4dc5-aee4-f2420943b387" providerId="ADAL" clId="{DF9B0C05-CC4F-4882-87E9-3A37CA25A441}" dt="2021-11-08T16:58:21.956" v="1056" actId="165"/>
          <ac:spMkLst>
            <pc:docMk/>
            <pc:sldMk cId="3935458817" sldId="2146847367"/>
            <ac:spMk id="246" creationId="{E298B085-DACA-4E0B-957E-8539D46B7152}"/>
          </ac:spMkLst>
        </pc:spChg>
        <pc:spChg chg="mod topLvl">
          <ac:chgData name="Atkar, Devyani Anil" userId="30060140-18fd-4dc5-aee4-f2420943b387" providerId="ADAL" clId="{DF9B0C05-CC4F-4882-87E9-3A37CA25A441}" dt="2021-11-08T16:58:21.956" v="1056" actId="165"/>
          <ac:spMkLst>
            <pc:docMk/>
            <pc:sldMk cId="3935458817" sldId="2146847367"/>
            <ac:spMk id="247" creationId="{693B5802-DA00-45D8-AB0C-EAFFC339E7A3}"/>
          </ac:spMkLst>
        </pc:spChg>
        <pc:spChg chg="mod topLvl">
          <ac:chgData name="Atkar, Devyani Anil" userId="30060140-18fd-4dc5-aee4-f2420943b387" providerId="ADAL" clId="{DF9B0C05-CC4F-4882-87E9-3A37CA25A441}" dt="2021-11-08T16:58:21.956" v="1056" actId="165"/>
          <ac:spMkLst>
            <pc:docMk/>
            <pc:sldMk cId="3935458817" sldId="2146847367"/>
            <ac:spMk id="248" creationId="{75A95244-6B3A-46A4-B819-81B48008941F}"/>
          </ac:spMkLst>
        </pc:spChg>
        <pc:spChg chg="mod topLvl">
          <ac:chgData name="Atkar, Devyani Anil" userId="30060140-18fd-4dc5-aee4-f2420943b387" providerId="ADAL" clId="{DF9B0C05-CC4F-4882-87E9-3A37CA25A441}" dt="2021-11-08T16:58:21.956" v="1056" actId="165"/>
          <ac:spMkLst>
            <pc:docMk/>
            <pc:sldMk cId="3935458817" sldId="2146847367"/>
            <ac:spMk id="249" creationId="{86411F37-D16E-408A-B091-324C9EA9C0F8}"/>
          </ac:spMkLst>
        </pc:spChg>
        <pc:spChg chg="mod topLvl">
          <ac:chgData name="Atkar, Devyani Anil" userId="30060140-18fd-4dc5-aee4-f2420943b387" providerId="ADAL" clId="{DF9B0C05-CC4F-4882-87E9-3A37CA25A441}" dt="2021-11-08T16:58:21.956" v="1056" actId="165"/>
          <ac:spMkLst>
            <pc:docMk/>
            <pc:sldMk cId="3935458817" sldId="2146847367"/>
            <ac:spMk id="250" creationId="{9A253CEA-CB62-4C38-AA60-9C0AD17358FD}"/>
          </ac:spMkLst>
        </pc:spChg>
        <pc:spChg chg="mod topLvl">
          <ac:chgData name="Atkar, Devyani Anil" userId="30060140-18fd-4dc5-aee4-f2420943b387" providerId="ADAL" clId="{DF9B0C05-CC4F-4882-87E9-3A37CA25A441}" dt="2021-11-08T16:58:21.956" v="1056" actId="165"/>
          <ac:spMkLst>
            <pc:docMk/>
            <pc:sldMk cId="3935458817" sldId="2146847367"/>
            <ac:spMk id="251" creationId="{E4D3281D-5913-4AD7-8633-00777950202F}"/>
          </ac:spMkLst>
        </pc:spChg>
        <pc:spChg chg="mod topLvl">
          <ac:chgData name="Atkar, Devyani Anil" userId="30060140-18fd-4dc5-aee4-f2420943b387" providerId="ADAL" clId="{DF9B0C05-CC4F-4882-87E9-3A37CA25A441}" dt="2021-11-08T16:58:21.956" v="1056" actId="165"/>
          <ac:spMkLst>
            <pc:docMk/>
            <pc:sldMk cId="3935458817" sldId="2146847367"/>
            <ac:spMk id="252" creationId="{962DC4CC-A63D-48D9-865D-3D9451810AB0}"/>
          </ac:spMkLst>
        </pc:spChg>
        <pc:spChg chg="mod topLvl">
          <ac:chgData name="Atkar, Devyani Anil" userId="30060140-18fd-4dc5-aee4-f2420943b387" providerId="ADAL" clId="{DF9B0C05-CC4F-4882-87E9-3A37CA25A441}" dt="2021-11-08T16:58:21.956" v="1056" actId="165"/>
          <ac:spMkLst>
            <pc:docMk/>
            <pc:sldMk cId="3935458817" sldId="2146847367"/>
            <ac:spMk id="253" creationId="{469F4A01-140C-40A1-9BDF-DC8949283EDA}"/>
          </ac:spMkLst>
        </pc:spChg>
        <pc:spChg chg="mod topLvl">
          <ac:chgData name="Atkar, Devyani Anil" userId="30060140-18fd-4dc5-aee4-f2420943b387" providerId="ADAL" clId="{DF9B0C05-CC4F-4882-87E9-3A37CA25A441}" dt="2021-11-08T16:58:21.956" v="1056" actId="165"/>
          <ac:spMkLst>
            <pc:docMk/>
            <pc:sldMk cId="3935458817" sldId="2146847367"/>
            <ac:spMk id="254" creationId="{6C5F8A87-B9E2-4D57-AFF0-855B020F2F4F}"/>
          </ac:spMkLst>
        </pc:spChg>
        <pc:spChg chg="mod topLvl">
          <ac:chgData name="Atkar, Devyani Anil" userId="30060140-18fd-4dc5-aee4-f2420943b387" providerId="ADAL" clId="{DF9B0C05-CC4F-4882-87E9-3A37CA25A441}" dt="2021-11-08T16:58:21.956" v="1056" actId="165"/>
          <ac:spMkLst>
            <pc:docMk/>
            <pc:sldMk cId="3935458817" sldId="2146847367"/>
            <ac:spMk id="255" creationId="{1CE58D57-E26D-4C65-986A-F422EAEA2860}"/>
          </ac:spMkLst>
        </pc:spChg>
        <pc:spChg chg="mod topLvl">
          <ac:chgData name="Atkar, Devyani Anil" userId="30060140-18fd-4dc5-aee4-f2420943b387" providerId="ADAL" clId="{DF9B0C05-CC4F-4882-87E9-3A37CA25A441}" dt="2021-11-08T16:58:21.956" v="1056" actId="165"/>
          <ac:spMkLst>
            <pc:docMk/>
            <pc:sldMk cId="3935458817" sldId="2146847367"/>
            <ac:spMk id="256" creationId="{CD8CBE52-E0C3-4213-9300-FD1E5ED87454}"/>
          </ac:spMkLst>
        </pc:spChg>
        <pc:spChg chg="mod topLvl">
          <ac:chgData name="Atkar, Devyani Anil" userId="30060140-18fd-4dc5-aee4-f2420943b387" providerId="ADAL" clId="{DF9B0C05-CC4F-4882-87E9-3A37CA25A441}" dt="2021-11-08T16:58:21.956" v="1056" actId="165"/>
          <ac:spMkLst>
            <pc:docMk/>
            <pc:sldMk cId="3935458817" sldId="2146847367"/>
            <ac:spMk id="257" creationId="{C1B3ACF1-44B4-4C6F-B4BA-C57314AD4BDB}"/>
          </ac:spMkLst>
        </pc:spChg>
        <pc:spChg chg="mod topLvl">
          <ac:chgData name="Atkar, Devyani Anil" userId="30060140-18fd-4dc5-aee4-f2420943b387" providerId="ADAL" clId="{DF9B0C05-CC4F-4882-87E9-3A37CA25A441}" dt="2021-11-08T16:58:21.956" v="1056" actId="165"/>
          <ac:spMkLst>
            <pc:docMk/>
            <pc:sldMk cId="3935458817" sldId="2146847367"/>
            <ac:spMk id="258" creationId="{E5D80F36-D998-4858-B977-38F2202586E0}"/>
          </ac:spMkLst>
        </pc:spChg>
        <pc:spChg chg="mod topLvl">
          <ac:chgData name="Atkar, Devyani Anil" userId="30060140-18fd-4dc5-aee4-f2420943b387" providerId="ADAL" clId="{DF9B0C05-CC4F-4882-87E9-3A37CA25A441}" dt="2021-11-08T16:58:21.956" v="1056" actId="165"/>
          <ac:spMkLst>
            <pc:docMk/>
            <pc:sldMk cId="3935458817" sldId="2146847367"/>
            <ac:spMk id="259" creationId="{6FC72F97-DADF-48D3-BDA4-1D3A7FE89311}"/>
          </ac:spMkLst>
        </pc:spChg>
        <pc:spChg chg="mod topLvl">
          <ac:chgData name="Atkar, Devyani Anil" userId="30060140-18fd-4dc5-aee4-f2420943b387" providerId="ADAL" clId="{DF9B0C05-CC4F-4882-87E9-3A37CA25A441}" dt="2021-11-08T16:58:21.956" v="1056" actId="165"/>
          <ac:spMkLst>
            <pc:docMk/>
            <pc:sldMk cId="3935458817" sldId="2146847367"/>
            <ac:spMk id="260" creationId="{49467F65-E7C7-4DA5-8717-60695B6FE6C6}"/>
          </ac:spMkLst>
        </pc:spChg>
        <pc:spChg chg="mod topLvl">
          <ac:chgData name="Atkar, Devyani Anil" userId="30060140-18fd-4dc5-aee4-f2420943b387" providerId="ADAL" clId="{DF9B0C05-CC4F-4882-87E9-3A37CA25A441}" dt="2021-11-08T16:58:21.956" v="1056" actId="165"/>
          <ac:spMkLst>
            <pc:docMk/>
            <pc:sldMk cId="3935458817" sldId="2146847367"/>
            <ac:spMk id="261" creationId="{1CDB94C3-F764-4A0B-9CF9-2024F78C0D1B}"/>
          </ac:spMkLst>
        </pc:spChg>
        <pc:spChg chg="mod topLvl">
          <ac:chgData name="Atkar, Devyani Anil" userId="30060140-18fd-4dc5-aee4-f2420943b387" providerId="ADAL" clId="{DF9B0C05-CC4F-4882-87E9-3A37CA25A441}" dt="2021-11-08T16:58:21.956" v="1056" actId="165"/>
          <ac:spMkLst>
            <pc:docMk/>
            <pc:sldMk cId="3935458817" sldId="2146847367"/>
            <ac:spMk id="262" creationId="{90882B88-771D-402E-A2D6-3B0FAB5A3B88}"/>
          </ac:spMkLst>
        </pc:spChg>
        <pc:spChg chg="mod topLvl">
          <ac:chgData name="Atkar, Devyani Anil" userId="30060140-18fd-4dc5-aee4-f2420943b387" providerId="ADAL" clId="{DF9B0C05-CC4F-4882-87E9-3A37CA25A441}" dt="2021-11-08T16:58:21.956" v="1056" actId="165"/>
          <ac:spMkLst>
            <pc:docMk/>
            <pc:sldMk cId="3935458817" sldId="2146847367"/>
            <ac:spMk id="263" creationId="{7069D3A7-286D-48AD-8215-F4EAD35524B1}"/>
          </ac:spMkLst>
        </pc:spChg>
        <pc:spChg chg="mod topLvl">
          <ac:chgData name="Atkar, Devyani Anil" userId="30060140-18fd-4dc5-aee4-f2420943b387" providerId="ADAL" clId="{DF9B0C05-CC4F-4882-87E9-3A37CA25A441}" dt="2021-11-08T16:58:21.956" v="1056" actId="165"/>
          <ac:spMkLst>
            <pc:docMk/>
            <pc:sldMk cId="3935458817" sldId="2146847367"/>
            <ac:spMk id="264" creationId="{45663FB7-5990-42F6-8108-09CF80A4F31F}"/>
          </ac:spMkLst>
        </pc:spChg>
        <pc:spChg chg="mod topLvl">
          <ac:chgData name="Atkar, Devyani Anil" userId="30060140-18fd-4dc5-aee4-f2420943b387" providerId="ADAL" clId="{DF9B0C05-CC4F-4882-87E9-3A37CA25A441}" dt="2021-11-08T16:58:21.956" v="1056" actId="165"/>
          <ac:spMkLst>
            <pc:docMk/>
            <pc:sldMk cId="3935458817" sldId="2146847367"/>
            <ac:spMk id="265" creationId="{B76AD24F-B23A-4CDF-97BC-2E265E964FFD}"/>
          </ac:spMkLst>
        </pc:spChg>
        <pc:spChg chg="mod topLvl">
          <ac:chgData name="Atkar, Devyani Anil" userId="30060140-18fd-4dc5-aee4-f2420943b387" providerId="ADAL" clId="{DF9B0C05-CC4F-4882-87E9-3A37CA25A441}" dt="2021-11-08T16:58:21.956" v="1056" actId="165"/>
          <ac:spMkLst>
            <pc:docMk/>
            <pc:sldMk cId="3935458817" sldId="2146847367"/>
            <ac:spMk id="266" creationId="{B4B90596-D772-4EA6-8FD7-946B7099AA8F}"/>
          </ac:spMkLst>
        </pc:spChg>
        <pc:spChg chg="mod topLvl">
          <ac:chgData name="Atkar, Devyani Anil" userId="30060140-18fd-4dc5-aee4-f2420943b387" providerId="ADAL" clId="{DF9B0C05-CC4F-4882-87E9-3A37CA25A441}" dt="2021-11-08T16:58:21.956" v="1056" actId="165"/>
          <ac:spMkLst>
            <pc:docMk/>
            <pc:sldMk cId="3935458817" sldId="2146847367"/>
            <ac:spMk id="267" creationId="{F4DE9205-F8BF-4F28-80D2-47F7F1532890}"/>
          </ac:spMkLst>
        </pc:spChg>
        <pc:spChg chg="mod topLvl">
          <ac:chgData name="Atkar, Devyani Anil" userId="30060140-18fd-4dc5-aee4-f2420943b387" providerId="ADAL" clId="{DF9B0C05-CC4F-4882-87E9-3A37CA25A441}" dt="2021-11-08T16:58:21.956" v="1056" actId="165"/>
          <ac:spMkLst>
            <pc:docMk/>
            <pc:sldMk cId="3935458817" sldId="2146847367"/>
            <ac:spMk id="268" creationId="{8A4663C3-8AD5-442C-A9D0-7356A3FE0111}"/>
          </ac:spMkLst>
        </pc:spChg>
        <pc:spChg chg="mod topLvl">
          <ac:chgData name="Atkar, Devyani Anil" userId="30060140-18fd-4dc5-aee4-f2420943b387" providerId="ADAL" clId="{DF9B0C05-CC4F-4882-87E9-3A37CA25A441}" dt="2021-11-08T16:58:21.956" v="1056" actId="165"/>
          <ac:spMkLst>
            <pc:docMk/>
            <pc:sldMk cId="3935458817" sldId="2146847367"/>
            <ac:spMk id="269" creationId="{9B2606C5-F99F-4FB3-99B5-CD8B13E2487C}"/>
          </ac:spMkLst>
        </pc:spChg>
        <pc:spChg chg="mod topLvl">
          <ac:chgData name="Atkar, Devyani Anil" userId="30060140-18fd-4dc5-aee4-f2420943b387" providerId="ADAL" clId="{DF9B0C05-CC4F-4882-87E9-3A37CA25A441}" dt="2021-11-08T16:58:21.956" v="1056" actId="165"/>
          <ac:spMkLst>
            <pc:docMk/>
            <pc:sldMk cId="3935458817" sldId="2146847367"/>
            <ac:spMk id="270" creationId="{5FF701F2-9417-411F-9AA8-C184C8769690}"/>
          </ac:spMkLst>
        </pc:spChg>
        <pc:spChg chg="mod topLvl">
          <ac:chgData name="Atkar, Devyani Anil" userId="30060140-18fd-4dc5-aee4-f2420943b387" providerId="ADAL" clId="{DF9B0C05-CC4F-4882-87E9-3A37CA25A441}" dt="2021-11-08T16:58:21.956" v="1056" actId="165"/>
          <ac:spMkLst>
            <pc:docMk/>
            <pc:sldMk cId="3935458817" sldId="2146847367"/>
            <ac:spMk id="271" creationId="{2B08BC60-00FE-423B-B816-96E7DF83500C}"/>
          </ac:spMkLst>
        </pc:spChg>
        <pc:spChg chg="mod topLvl">
          <ac:chgData name="Atkar, Devyani Anil" userId="30060140-18fd-4dc5-aee4-f2420943b387" providerId="ADAL" clId="{DF9B0C05-CC4F-4882-87E9-3A37CA25A441}" dt="2021-11-08T16:58:55.966" v="1058" actId="552"/>
          <ac:spMkLst>
            <pc:docMk/>
            <pc:sldMk cId="3935458817" sldId="2146847367"/>
            <ac:spMk id="272" creationId="{F3E7EA51-5FC1-4BE7-801E-12562E3B5D81}"/>
          </ac:spMkLst>
        </pc:spChg>
        <pc:spChg chg="mod topLvl">
          <ac:chgData name="Atkar, Devyani Anil" userId="30060140-18fd-4dc5-aee4-f2420943b387" providerId="ADAL" clId="{DF9B0C05-CC4F-4882-87E9-3A37CA25A441}" dt="2021-11-08T16:58:55.966" v="1058" actId="552"/>
          <ac:spMkLst>
            <pc:docMk/>
            <pc:sldMk cId="3935458817" sldId="2146847367"/>
            <ac:spMk id="273" creationId="{2DF4406B-B841-4074-B88A-0CEF8F911888}"/>
          </ac:spMkLst>
        </pc:spChg>
        <pc:spChg chg="mod topLvl">
          <ac:chgData name="Atkar, Devyani Anil" userId="30060140-18fd-4dc5-aee4-f2420943b387" providerId="ADAL" clId="{DF9B0C05-CC4F-4882-87E9-3A37CA25A441}" dt="2021-11-08T16:59:02.900" v="1059" actId="552"/>
          <ac:spMkLst>
            <pc:docMk/>
            <pc:sldMk cId="3935458817" sldId="2146847367"/>
            <ac:spMk id="274" creationId="{365B784F-175F-4836-AFE1-A97E7B8EDC2E}"/>
          </ac:spMkLst>
        </pc:spChg>
        <pc:spChg chg="mod topLvl">
          <ac:chgData name="Atkar, Devyani Anil" userId="30060140-18fd-4dc5-aee4-f2420943b387" providerId="ADAL" clId="{DF9B0C05-CC4F-4882-87E9-3A37CA25A441}" dt="2021-11-08T16:59:02.900" v="1059" actId="552"/>
          <ac:spMkLst>
            <pc:docMk/>
            <pc:sldMk cId="3935458817" sldId="2146847367"/>
            <ac:spMk id="275" creationId="{87B07604-B852-427D-9AF9-6FCF8FC8F9E4}"/>
          </ac:spMkLst>
        </pc:spChg>
        <pc:spChg chg="mod">
          <ac:chgData name="Atkar, Devyani Anil" userId="30060140-18fd-4dc5-aee4-f2420943b387" providerId="ADAL" clId="{DF9B0C05-CC4F-4882-87E9-3A37CA25A441}" dt="2021-11-08T16:58:08.858" v="1055" actId="552"/>
          <ac:spMkLst>
            <pc:docMk/>
            <pc:sldMk cId="3935458817" sldId="2146847367"/>
            <ac:spMk id="317" creationId="{54DAA748-42E5-41C2-AF1C-7F5F9053F920}"/>
          </ac:spMkLst>
        </pc:spChg>
        <pc:spChg chg="mod">
          <ac:chgData name="Atkar, Devyani Anil" userId="30060140-18fd-4dc5-aee4-f2420943b387" providerId="ADAL" clId="{DF9B0C05-CC4F-4882-87E9-3A37CA25A441}" dt="2021-11-08T16:58:55.966" v="1058" actId="552"/>
          <ac:spMkLst>
            <pc:docMk/>
            <pc:sldMk cId="3935458817" sldId="2146847367"/>
            <ac:spMk id="358" creationId="{C91FC61B-565C-4273-9155-7FBCE5E7BD10}"/>
          </ac:spMkLst>
        </pc:spChg>
        <pc:spChg chg="mod">
          <ac:chgData name="Atkar, Devyani Anil" userId="30060140-18fd-4dc5-aee4-f2420943b387" providerId="ADAL" clId="{DF9B0C05-CC4F-4882-87E9-3A37CA25A441}" dt="2021-11-08T16:58:55.966" v="1058" actId="552"/>
          <ac:spMkLst>
            <pc:docMk/>
            <pc:sldMk cId="3935458817" sldId="2146847367"/>
            <ac:spMk id="369" creationId="{2927EDEE-7B6E-4888-9333-8D34668E62C8}"/>
          </ac:spMkLst>
        </pc:spChg>
        <pc:spChg chg="mod">
          <ac:chgData name="Atkar, Devyani Anil" userId="30060140-18fd-4dc5-aee4-f2420943b387" providerId="ADAL" clId="{DF9B0C05-CC4F-4882-87E9-3A37CA25A441}" dt="2021-11-08T16:59:25.984" v="1061" actId="120"/>
          <ac:spMkLst>
            <pc:docMk/>
            <pc:sldMk cId="3935458817" sldId="2146847367"/>
            <ac:spMk id="382" creationId="{F653A7B4-EDC5-4687-9714-6496255F7943}"/>
          </ac:spMkLst>
        </pc:spChg>
        <pc:spChg chg="mod">
          <ac:chgData name="Atkar, Devyani Anil" userId="30060140-18fd-4dc5-aee4-f2420943b387" providerId="ADAL" clId="{DF9B0C05-CC4F-4882-87E9-3A37CA25A441}" dt="2021-11-08T16:58:55.966" v="1058" actId="552"/>
          <ac:spMkLst>
            <pc:docMk/>
            <pc:sldMk cId="3935458817" sldId="2146847367"/>
            <ac:spMk id="388" creationId="{7865EC0D-8770-4D96-A31A-E244D2886EFE}"/>
          </ac:spMkLst>
        </pc:spChg>
        <pc:spChg chg="mod">
          <ac:chgData name="Atkar, Devyani Anil" userId="30060140-18fd-4dc5-aee4-f2420943b387" providerId="ADAL" clId="{DF9B0C05-CC4F-4882-87E9-3A37CA25A441}" dt="2021-11-08T16:58:55.966" v="1058" actId="552"/>
          <ac:spMkLst>
            <pc:docMk/>
            <pc:sldMk cId="3935458817" sldId="2146847367"/>
            <ac:spMk id="397" creationId="{4BA9FBEF-D80C-46F2-95E9-7D0CF3AE1CE6}"/>
          </ac:spMkLst>
        </pc:spChg>
        <pc:grpChg chg="del">
          <ac:chgData name="Atkar, Devyani Anil" userId="30060140-18fd-4dc5-aee4-f2420943b387" providerId="ADAL" clId="{DF9B0C05-CC4F-4882-87E9-3A37CA25A441}" dt="2021-11-08T16:58:21.956" v="1056" actId="165"/>
          <ac:grpSpMkLst>
            <pc:docMk/>
            <pc:sldMk cId="3935458817" sldId="2146847367"/>
            <ac:grpSpMk id="10" creationId="{34B32DB0-B24D-4974-869D-4FC1B0875AD2}"/>
          </ac:grpSpMkLst>
        </pc:grpChg>
      </pc:sldChg>
      <pc:sldChg chg="modSp mod">
        <pc:chgData name="Atkar, Devyani Anil" userId="30060140-18fd-4dc5-aee4-f2420943b387" providerId="ADAL" clId="{DF9B0C05-CC4F-4882-87E9-3A37CA25A441}" dt="2021-11-08T17:02:34.050" v="1090" actId="207"/>
        <pc:sldMkLst>
          <pc:docMk/>
          <pc:sldMk cId="2487914101" sldId="2146847369"/>
        </pc:sldMkLst>
        <pc:graphicFrameChg chg="mod modGraphic">
          <ac:chgData name="Atkar, Devyani Anil" userId="30060140-18fd-4dc5-aee4-f2420943b387" providerId="ADAL" clId="{DF9B0C05-CC4F-4882-87E9-3A37CA25A441}" dt="2021-11-08T17:02:34.050" v="1090" actId="207"/>
          <ac:graphicFrameMkLst>
            <pc:docMk/>
            <pc:sldMk cId="2487914101" sldId="2146847369"/>
            <ac:graphicFrameMk id="13" creationId="{E1D6C4B5-254E-4047-A991-6D4968ADE379}"/>
          </ac:graphicFrameMkLst>
        </pc:graphicFrameChg>
      </pc:sldChg>
      <pc:sldChg chg="delSp modSp mod">
        <pc:chgData name="Atkar, Devyani Anil" userId="30060140-18fd-4dc5-aee4-f2420943b387" providerId="ADAL" clId="{DF9B0C05-CC4F-4882-87E9-3A37CA25A441}" dt="2021-11-08T17:02:46.664" v="1093" actId="2165"/>
        <pc:sldMkLst>
          <pc:docMk/>
          <pc:sldMk cId="1883859609" sldId="2146847370"/>
        </pc:sldMkLst>
        <pc:spChg chg="del mod">
          <ac:chgData name="Atkar, Devyani Anil" userId="30060140-18fd-4dc5-aee4-f2420943b387" providerId="ADAL" clId="{DF9B0C05-CC4F-4882-87E9-3A37CA25A441}" dt="2021-11-08T17:02:38.947" v="1092" actId="478"/>
          <ac:spMkLst>
            <pc:docMk/>
            <pc:sldMk cId="1883859609" sldId="2146847370"/>
            <ac:spMk id="5" creationId="{50F4984F-D4AA-40D4-9500-9771E105251E}"/>
          </ac:spMkLst>
        </pc:spChg>
        <pc:graphicFrameChg chg="mod modGraphic">
          <ac:chgData name="Atkar, Devyani Anil" userId="30060140-18fd-4dc5-aee4-f2420943b387" providerId="ADAL" clId="{DF9B0C05-CC4F-4882-87E9-3A37CA25A441}" dt="2021-11-08T17:02:46.664" v="1093" actId="2165"/>
          <ac:graphicFrameMkLst>
            <pc:docMk/>
            <pc:sldMk cId="1883859609" sldId="2146847370"/>
            <ac:graphicFrameMk id="14" creationId="{F0423E4E-7FAD-4AB3-99B2-F24577B59D66}"/>
          </ac:graphicFrameMkLst>
        </pc:graphicFrameChg>
      </pc:sldChg>
      <pc:sldChg chg="delSp modSp mod">
        <pc:chgData name="Atkar, Devyani Anil" userId="30060140-18fd-4dc5-aee4-f2420943b387" providerId="ADAL" clId="{DF9B0C05-CC4F-4882-87E9-3A37CA25A441}" dt="2021-11-08T17:02:59.742" v="1095" actId="2165"/>
        <pc:sldMkLst>
          <pc:docMk/>
          <pc:sldMk cId="420301549" sldId="2146847371"/>
        </pc:sldMkLst>
        <pc:spChg chg="del">
          <ac:chgData name="Atkar, Devyani Anil" userId="30060140-18fd-4dc5-aee4-f2420943b387" providerId="ADAL" clId="{DF9B0C05-CC4F-4882-87E9-3A37CA25A441}" dt="2021-11-08T17:02:52.541" v="1094" actId="478"/>
          <ac:spMkLst>
            <pc:docMk/>
            <pc:sldMk cId="420301549" sldId="2146847371"/>
            <ac:spMk id="24" creationId="{9ABDC1FF-34EB-4B3F-96BF-07FC4B810A76}"/>
          </ac:spMkLst>
        </pc:spChg>
        <pc:graphicFrameChg chg="mod modGraphic">
          <ac:chgData name="Atkar, Devyani Anil" userId="30060140-18fd-4dc5-aee4-f2420943b387" providerId="ADAL" clId="{DF9B0C05-CC4F-4882-87E9-3A37CA25A441}" dt="2021-11-08T17:02:59.742" v="1095" actId="2165"/>
          <ac:graphicFrameMkLst>
            <pc:docMk/>
            <pc:sldMk cId="420301549" sldId="2146847371"/>
            <ac:graphicFrameMk id="23" creationId="{B74133A7-F3E1-4784-9567-04A09AB646D7}"/>
          </ac:graphicFrameMkLst>
        </pc:graphicFrameChg>
      </pc:sldChg>
      <pc:sldChg chg="delSp modSp mod">
        <pc:chgData name="Atkar, Devyani Anil" userId="30060140-18fd-4dc5-aee4-f2420943b387" providerId="ADAL" clId="{DF9B0C05-CC4F-4882-87E9-3A37CA25A441}" dt="2021-11-08T17:02:13.670" v="1088" actId="2165"/>
        <pc:sldMkLst>
          <pc:docMk/>
          <pc:sldMk cId="2584431280" sldId="2146847372"/>
        </pc:sldMkLst>
        <pc:spChg chg="del">
          <ac:chgData name="Atkar, Devyani Anil" userId="30060140-18fd-4dc5-aee4-f2420943b387" providerId="ADAL" clId="{DF9B0C05-CC4F-4882-87E9-3A37CA25A441}" dt="2021-11-08T17:02:07.707" v="1087" actId="478"/>
          <ac:spMkLst>
            <pc:docMk/>
            <pc:sldMk cId="2584431280" sldId="2146847372"/>
            <ac:spMk id="16" creationId="{9AB0C277-149D-4DF0-BA62-C95A3A1F429F}"/>
          </ac:spMkLst>
        </pc:spChg>
        <pc:graphicFrameChg chg="mod modGraphic">
          <ac:chgData name="Atkar, Devyani Anil" userId="30060140-18fd-4dc5-aee4-f2420943b387" providerId="ADAL" clId="{DF9B0C05-CC4F-4882-87E9-3A37CA25A441}" dt="2021-11-08T17:02:13.670" v="1088" actId="2165"/>
          <ac:graphicFrameMkLst>
            <pc:docMk/>
            <pc:sldMk cId="2584431280" sldId="2146847372"/>
            <ac:graphicFrameMk id="15" creationId="{24FDDE7B-7BE6-4EFB-AEF1-669B0772DD9F}"/>
          </ac:graphicFrameMkLst>
        </pc:graphicFrameChg>
      </pc:sldChg>
      <pc:sldChg chg="delSp modSp mod">
        <pc:chgData name="Atkar, Devyani Anil" userId="30060140-18fd-4dc5-aee4-f2420943b387" providerId="ADAL" clId="{DF9B0C05-CC4F-4882-87E9-3A37CA25A441}" dt="2021-11-08T17:01:51.145" v="1084" actId="2165"/>
        <pc:sldMkLst>
          <pc:docMk/>
          <pc:sldMk cId="1129342914" sldId="2146847373"/>
        </pc:sldMkLst>
        <pc:spChg chg="del">
          <ac:chgData name="Atkar, Devyani Anil" userId="30060140-18fd-4dc5-aee4-f2420943b387" providerId="ADAL" clId="{DF9B0C05-CC4F-4882-87E9-3A37CA25A441}" dt="2021-11-08T17:01:44.476" v="1083" actId="478"/>
          <ac:spMkLst>
            <pc:docMk/>
            <pc:sldMk cId="1129342914" sldId="2146847373"/>
            <ac:spMk id="16" creationId="{36A3E91E-E673-4F5A-ACA4-B0CAA9C7F9B6}"/>
          </ac:spMkLst>
        </pc:spChg>
        <pc:graphicFrameChg chg="mod modGraphic">
          <ac:chgData name="Atkar, Devyani Anil" userId="30060140-18fd-4dc5-aee4-f2420943b387" providerId="ADAL" clId="{DF9B0C05-CC4F-4882-87E9-3A37CA25A441}" dt="2021-11-08T17:01:51.145" v="1084" actId="2165"/>
          <ac:graphicFrameMkLst>
            <pc:docMk/>
            <pc:sldMk cId="1129342914" sldId="2146847373"/>
            <ac:graphicFrameMk id="15" creationId="{24FDDE7B-7BE6-4EFB-AEF1-669B0772DD9F}"/>
          </ac:graphicFrameMkLst>
        </pc:graphicFrameChg>
      </pc:sldChg>
      <pc:sldChg chg="delSp modSp mod">
        <pc:chgData name="Atkar, Devyani Anil" userId="30060140-18fd-4dc5-aee4-f2420943b387" providerId="ADAL" clId="{DF9B0C05-CC4F-4882-87E9-3A37CA25A441}" dt="2021-11-08T17:02:04.450" v="1086" actId="2165"/>
        <pc:sldMkLst>
          <pc:docMk/>
          <pc:sldMk cId="3795325203" sldId="2146847374"/>
        </pc:sldMkLst>
        <pc:spChg chg="del">
          <ac:chgData name="Atkar, Devyani Anil" userId="30060140-18fd-4dc5-aee4-f2420943b387" providerId="ADAL" clId="{DF9B0C05-CC4F-4882-87E9-3A37CA25A441}" dt="2021-11-08T17:01:58.047" v="1085" actId="478"/>
          <ac:spMkLst>
            <pc:docMk/>
            <pc:sldMk cId="3795325203" sldId="2146847374"/>
            <ac:spMk id="16" creationId="{2E31F54D-994D-4980-92F9-0B18D1A99C40}"/>
          </ac:spMkLst>
        </pc:spChg>
        <pc:graphicFrameChg chg="mod modGraphic">
          <ac:chgData name="Atkar, Devyani Anil" userId="30060140-18fd-4dc5-aee4-f2420943b387" providerId="ADAL" clId="{DF9B0C05-CC4F-4882-87E9-3A37CA25A441}" dt="2021-11-08T17:02:04.450" v="1086" actId="2165"/>
          <ac:graphicFrameMkLst>
            <pc:docMk/>
            <pc:sldMk cId="3795325203" sldId="2146847374"/>
            <ac:graphicFrameMk id="15" creationId="{24FDDE7B-7BE6-4EFB-AEF1-669B0772DD9F}"/>
          </ac:graphicFrameMkLst>
        </pc:graphicFrameChg>
      </pc:sldChg>
      <pc:sldChg chg="delSp modSp mod">
        <pc:chgData name="Atkar, Devyani Anil" userId="30060140-18fd-4dc5-aee4-f2420943b387" providerId="ADAL" clId="{DF9B0C05-CC4F-4882-87E9-3A37CA25A441}" dt="2021-11-08T17:00:50.496" v="1072" actId="2165"/>
        <pc:sldMkLst>
          <pc:docMk/>
          <pc:sldMk cId="1461060297" sldId="2146847375"/>
        </pc:sldMkLst>
        <pc:spChg chg="del">
          <ac:chgData name="Atkar, Devyani Anil" userId="30060140-18fd-4dc5-aee4-f2420943b387" providerId="ADAL" clId="{DF9B0C05-CC4F-4882-87E9-3A37CA25A441}" dt="2021-11-08T17:00:44.278" v="1071" actId="478"/>
          <ac:spMkLst>
            <pc:docMk/>
            <pc:sldMk cId="1461060297" sldId="2146847375"/>
            <ac:spMk id="10" creationId="{CCDDE109-B479-4794-B10C-239D47DEDA39}"/>
          </ac:spMkLst>
        </pc:spChg>
        <pc:graphicFrameChg chg="mod modGraphic">
          <ac:chgData name="Atkar, Devyani Anil" userId="30060140-18fd-4dc5-aee4-f2420943b387" providerId="ADAL" clId="{DF9B0C05-CC4F-4882-87E9-3A37CA25A441}" dt="2021-11-08T17:00:50.496" v="1072" actId="2165"/>
          <ac:graphicFrameMkLst>
            <pc:docMk/>
            <pc:sldMk cId="1461060297" sldId="2146847375"/>
            <ac:graphicFrameMk id="15" creationId="{24FDDE7B-7BE6-4EFB-AEF1-669B0772DD9F}"/>
          </ac:graphicFrameMkLst>
        </pc:graphicFrameChg>
      </pc:sldChg>
      <pc:sldChg chg="delSp modSp mod">
        <pc:chgData name="Atkar, Devyani Anil" userId="30060140-18fd-4dc5-aee4-f2420943b387" providerId="ADAL" clId="{DF9B0C05-CC4F-4882-87E9-3A37CA25A441}" dt="2021-11-08T17:01:28.664" v="1080" actId="2165"/>
        <pc:sldMkLst>
          <pc:docMk/>
          <pc:sldMk cId="4279285952" sldId="2146847376"/>
        </pc:sldMkLst>
        <pc:spChg chg="del">
          <ac:chgData name="Atkar, Devyani Anil" userId="30060140-18fd-4dc5-aee4-f2420943b387" providerId="ADAL" clId="{DF9B0C05-CC4F-4882-87E9-3A37CA25A441}" dt="2021-11-08T17:01:20.934" v="1078" actId="478"/>
          <ac:spMkLst>
            <pc:docMk/>
            <pc:sldMk cId="4279285952" sldId="2146847376"/>
            <ac:spMk id="5" creationId="{08C0A3C0-43CA-46C3-9F22-DFEC9B89962E}"/>
          </ac:spMkLst>
        </pc:spChg>
        <pc:graphicFrameChg chg="mod modGraphic">
          <ac:chgData name="Atkar, Devyani Anil" userId="30060140-18fd-4dc5-aee4-f2420943b387" providerId="ADAL" clId="{DF9B0C05-CC4F-4882-87E9-3A37CA25A441}" dt="2021-11-08T17:01:28.664" v="1080" actId="2165"/>
          <ac:graphicFrameMkLst>
            <pc:docMk/>
            <pc:sldMk cId="4279285952" sldId="2146847376"/>
            <ac:graphicFrameMk id="15" creationId="{24FDDE7B-7BE6-4EFB-AEF1-669B0772DD9F}"/>
          </ac:graphicFrameMkLst>
        </pc:graphicFrameChg>
      </pc:sldChg>
      <pc:sldChg chg="delSp modSp mod">
        <pc:chgData name="Atkar, Devyani Anil" userId="30060140-18fd-4dc5-aee4-f2420943b387" providerId="ADAL" clId="{DF9B0C05-CC4F-4882-87E9-3A37CA25A441}" dt="2021-11-08T17:01:41.102" v="1082" actId="2165"/>
        <pc:sldMkLst>
          <pc:docMk/>
          <pc:sldMk cId="3317846635" sldId="2146847377"/>
        </pc:sldMkLst>
        <pc:spChg chg="del">
          <ac:chgData name="Atkar, Devyani Anil" userId="30060140-18fd-4dc5-aee4-f2420943b387" providerId="ADAL" clId="{DF9B0C05-CC4F-4882-87E9-3A37CA25A441}" dt="2021-11-08T17:01:32.919" v="1081" actId="478"/>
          <ac:spMkLst>
            <pc:docMk/>
            <pc:sldMk cId="3317846635" sldId="2146847377"/>
            <ac:spMk id="16" creationId="{2001B858-4E03-49FB-9587-382E45C9FEB6}"/>
          </ac:spMkLst>
        </pc:spChg>
        <pc:graphicFrameChg chg="mod modGraphic">
          <ac:chgData name="Atkar, Devyani Anil" userId="30060140-18fd-4dc5-aee4-f2420943b387" providerId="ADAL" clId="{DF9B0C05-CC4F-4882-87E9-3A37CA25A441}" dt="2021-11-08T17:01:41.102" v="1082" actId="2165"/>
          <ac:graphicFrameMkLst>
            <pc:docMk/>
            <pc:sldMk cId="3317846635" sldId="2146847377"/>
            <ac:graphicFrameMk id="15" creationId="{24FDDE7B-7BE6-4EFB-AEF1-669B0772DD9F}"/>
          </ac:graphicFrameMkLst>
        </pc:graphicFrameChg>
      </pc:sldChg>
      <pc:sldChg chg="delSp modSp mod">
        <pc:chgData name="Atkar, Devyani Anil" userId="30060140-18fd-4dc5-aee4-f2420943b387" providerId="ADAL" clId="{DF9B0C05-CC4F-4882-87E9-3A37CA25A441}" dt="2021-11-08T17:01:17.788" v="1077" actId="2165"/>
        <pc:sldMkLst>
          <pc:docMk/>
          <pc:sldMk cId="183759902" sldId="2146847378"/>
        </pc:sldMkLst>
        <pc:spChg chg="del">
          <ac:chgData name="Atkar, Devyani Anil" userId="30060140-18fd-4dc5-aee4-f2420943b387" providerId="ADAL" clId="{DF9B0C05-CC4F-4882-87E9-3A37CA25A441}" dt="2021-11-08T17:01:09.713" v="1075" actId="478"/>
          <ac:spMkLst>
            <pc:docMk/>
            <pc:sldMk cId="183759902" sldId="2146847378"/>
            <ac:spMk id="16" creationId="{BF6FC98A-24A9-46CF-A59F-7155584772D5}"/>
          </ac:spMkLst>
        </pc:spChg>
        <pc:graphicFrameChg chg="mod modGraphic">
          <ac:chgData name="Atkar, Devyani Anil" userId="30060140-18fd-4dc5-aee4-f2420943b387" providerId="ADAL" clId="{DF9B0C05-CC4F-4882-87E9-3A37CA25A441}" dt="2021-11-08T17:01:17.788" v="1077" actId="2165"/>
          <ac:graphicFrameMkLst>
            <pc:docMk/>
            <pc:sldMk cId="183759902" sldId="2146847378"/>
            <ac:graphicFrameMk id="15" creationId="{24FDDE7B-7BE6-4EFB-AEF1-669B0772DD9F}"/>
          </ac:graphicFrameMkLst>
        </pc:graphicFrameChg>
      </pc:sldChg>
      <pc:sldChg chg="del">
        <pc:chgData name="Atkar, Devyani Anil" userId="30060140-18fd-4dc5-aee4-f2420943b387" providerId="ADAL" clId="{DF9B0C05-CC4F-4882-87E9-3A37CA25A441}" dt="2021-10-20T09:09:57.411" v="221" actId="47"/>
        <pc:sldMkLst>
          <pc:docMk/>
          <pc:sldMk cId="383619685" sldId="2146847379"/>
        </pc:sldMkLst>
      </pc:sldChg>
      <pc:sldChg chg="delSp modSp mod addCm delCm modCm">
        <pc:chgData name="Atkar, Devyani Anil" userId="30060140-18fd-4dc5-aee4-f2420943b387" providerId="ADAL" clId="{DF9B0C05-CC4F-4882-87E9-3A37CA25A441}" dt="2021-11-08T17:00:40.084" v="1070" actId="13926"/>
        <pc:sldMkLst>
          <pc:docMk/>
          <pc:sldMk cId="1964990107" sldId="2146847380"/>
        </pc:sldMkLst>
        <pc:spChg chg="del">
          <ac:chgData name="Atkar, Devyani Anil" userId="30060140-18fd-4dc5-aee4-f2420943b387" providerId="ADAL" clId="{DF9B0C05-CC4F-4882-87E9-3A37CA25A441}" dt="2021-11-08T17:00:08.157" v="1069" actId="478"/>
          <ac:spMkLst>
            <pc:docMk/>
            <pc:sldMk cId="1964990107" sldId="2146847380"/>
            <ac:spMk id="5" creationId="{72FDD30B-9B3E-4437-A465-A2A66B7489DD}"/>
          </ac:spMkLst>
        </pc:spChg>
        <pc:spChg chg="del mod">
          <ac:chgData name="Atkar, Devyani Anil" userId="30060140-18fd-4dc5-aee4-f2420943b387" providerId="ADAL" clId="{DF9B0C05-CC4F-4882-87E9-3A37CA25A441}" dt="2021-11-08T17:00:06.533" v="1068" actId="478"/>
          <ac:spMkLst>
            <pc:docMk/>
            <pc:sldMk cId="1964990107" sldId="2146847380"/>
            <ac:spMk id="12" creationId="{869DE9FB-0D19-4103-971C-0D95569EC0FD}"/>
          </ac:spMkLst>
        </pc:spChg>
        <pc:spChg chg="mod">
          <ac:chgData name="Atkar, Devyani Anil" userId="30060140-18fd-4dc5-aee4-f2420943b387" providerId="ADAL" clId="{DF9B0C05-CC4F-4882-87E9-3A37CA25A441}" dt="2021-10-04T13:00:27.422" v="80" actId="14100"/>
          <ac:spMkLst>
            <pc:docMk/>
            <pc:sldMk cId="1964990107" sldId="2146847380"/>
            <ac:spMk id="13" creationId="{A2A2B339-34D0-4E4C-A64A-1D4F53CF4E1E}"/>
          </ac:spMkLst>
        </pc:spChg>
        <pc:spChg chg="del">
          <ac:chgData name="Atkar, Devyani Anil" userId="30060140-18fd-4dc5-aee4-f2420943b387" providerId="ADAL" clId="{DF9B0C05-CC4F-4882-87E9-3A37CA25A441}" dt="2021-10-04T12:59:57.152" v="6" actId="478"/>
          <ac:spMkLst>
            <pc:docMk/>
            <pc:sldMk cId="1964990107" sldId="2146847380"/>
            <ac:spMk id="23" creationId="{1C06B414-FC51-41C8-8FB0-3B8CBF313D11}"/>
          </ac:spMkLst>
        </pc:spChg>
        <pc:spChg chg="mod">
          <ac:chgData name="Atkar, Devyani Anil" userId="30060140-18fd-4dc5-aee4-f2420943b387" providerId="ADAL" clId="{DF9B0C05-CC4F-4882-87E9-3A37CA25A441}" dt="2021-10-04T13:00:35.652" v="81" actId="408"/>
          <ac:spMkLst>
            <pc:docMk/>
            <pc:sldMk cId="1964990107" sldId="2146847380"/>
            <ac:spMk id="26" creationId="{4F7FFED5-22BA-47DE-898F-A456A970819E}"/>
          </ac:spMkLst>
        </pc:spChg>
        <pc:spChg chg="mod">
          <ac:chgData name="Atkar, Devyani Anil" userId="30060140-18fd-4dc5-aee4-f2420943b387" providerId="ADAL" clId="{DF9B0C05-CC4F-4882-87E9-3A37CA25A441}" dt="2021-10-04T13:00:09.837" v="78" actId="1037"/>
          <ac:spMkLst>
            <pc:docMk/>
            <pc:sldMk cId="1964990107" sldId="2146847380"/>
            <ac:spMk id="27" creationId="{33A613B4-48EB-4627-B175-58670DFB733D}"/>
          </ac:spMkLst>
        </pc:spChg>
        <pc:graphicFrameChg chg="mod modGraphic">
          <ac:chgData name="Atkar, Devyani Anil" userId="30060140-18fd-4dc5-aee4-f2420943b387" providerId="ADAL" clId="{DF9B0C05-CC4F-4882-87E9-3A37CA25A441}" dt="2021-11-08T17:00:40.084" v="1070" actId="13926"/>
          <ac:graphicFrameMkLst>
            <pc:docMk/>
            <pc:sldMk cId="1964990107" sldId="2146847380"/>
            <ac:graphicFrameMk id="15" creationId="{24FDDE7B-7BE6-4EFB-AEF1-669B0772DD9F}"/>
          </ac:graphicFrameMkLst>
        </pc:graphicFrameChg>
      </pc:sldChg>
      <pc:sldChg chg="delSp modSp mod">
        <pc:chgData name="Atkar, Devyani Anil" userId="30060140-18fd-4dc5-aee4-f2420943b387" providerId="ADAL" clId="{DF9B0C05-CC4F-4882-87E9-3A37CA25A441}" dt="2021-11-08T17:01:04.543" v="1074" actId="2165"/>
        <pc:sldMkLst>
          <pc:docMk/>
          <pc:sldMk cId="1384751485" sldId="2146847381"/>
        </pc:sldMkLst>
        <pc:spChg chg="del">
          <ac:chgData name="Atkar, Devyani Anil" userId="30060140-18fd-4dc5-aee4-f2420943b387" providerId="ADAL" clId="{DF9B0C05-CC4F-4882-87E9-3A37CA25A441}" dt="2021-11-08T17:00:58.236" v="1073" actId="478"/>
          <ac:spMkLst>
            <pc:docMk/>
            <pc:sldMk cId="1384751485" sldId="2146847381"/>
            <ac:spMk id="10" creationId="{965861DD-4C8C-4143-835E-04BA26D5C83A}"/>
          </ac:spMkLst>
        </pc:spChg>
        <pc:graphicFrameChg chg="mod modGraphic">
          <ac:chgData name="Atkar, Devyani Anil" userId="30060140-18fd-4dc5-aee4-f2420943b387" providerId="ADAL" clId="{DF9B0C05-CC4F-4882-87E9-3A37CA25A441}" dt="2021-11-08T17:01:04.543" v="1074" actId="2165"/>
          <ac:graphicFrameMkLst>
            <pc:docMk/>
            <pc:sldMk cId="1384751485" sldId="2146847381"/>
            <ac:graphicFrameMk id="15" creationId="{24FDDE7B-7BE6-4EFB-AEF1-669B0772DD9F}"/>
          </ac:graphicFrameMkLst>
        </pc:graphicFrameChg>
      </pc:sldChg>
      <pc:sldChg chg="delSp modSp mod addCm delCm modCm">
        <pc:chgData name="Atkar, Devyani Anil" userId="30060140-18fd-4dc5-aee4-f2420943b387" providerId="ADAL" clId="{DF9B0C05-CC4F-4882-87E9-3A37CA25A441}" dt="2021-11-08T16:59:57.570" v="1065" actId="1592"/>
        <pc:sldMkLst>
          <pc:docMk/>
          <pc:sldMk cId="1569801637" sldId="2146847382"/>
        </pc:sldMkLst>
        <pc:spChg chg="del">
          <ac:chgData name="Atkar, Devyani Anil" userId="30060140-18fd-4dc5-aee4-f2420943b387" providerId="ADAL" clId="{DF9B0C05-CC4F-4882-87E9-3A37CA25A441}" dt="2021-11-08T16:59:40.141" v="1063" actId="478"/>
          <ac:spMkLst>
            <pc:docMk/>
            <pc:sldMk cId="1569801637" sldId="2146847382"/>
            <ac:spMk id="5" creationId="{F28B33D1-1788-4704-9DAD-04BC58221A0D}"/>
          </ac:spMkLst>
        </pc:spChg>
        <pc:graphicFrameChg chg="mod modGraphic">
          <ac:chgData name="Atkar, Devyani Anil" userId="30060140-18fd-4dc5-aee4-f2420943b387" providerId="ADAL" clId="{DF9B0C05-CC4F-4882-87E9-3A37CA25A441}" dt="2021-11-08T16:59:47.308" v="1064" actId="2165"/>
          <ac:graphicFrameMkLst>
            <pc:docMk/>
            <pc:sldMk cId="1569801637" sldId="2146847382"/>
            <ac:graphicFrameMk id="15" creationId="{24FDDE7B-7BE6-4EFB-AEF1-669B0772DD9F}"/>
          </ac:graphicFrameMkLst>
        </pc:graphicFrameChg>
      </pc:sldChg>
      <pc:sldChg chg="del">
        <pc:chgData name="Atkar, Devyani Anil" userId="30060140-18fd-4dc5-aee4-f2420943b387" providerId="ADAL" clId="{DF9B0C05-CC4F-4882-87E9-3A37CA25A441}" dt="2021-11-08T16:59:37.460" v="1062" actId="47"/>
        <pc:sldMkLst>
          <pc:docMk/>
          <pc:sldMk cId="2122458547" sldId="2146847383"/>
        </pc:sldMkLst>
      </pc:sldChg>
      <pc:sldChg chg="addSp delSp modSp add del mod ord modShow">
        <pc:chgData name="Atkar, Devyani Anil" userId="30060140-18fd-4dc5-aee4-f2420943b387" providerId="ADAL" clId="{DF9B0C05-CC4F-4882-87E9-3A37CA25A441}" dt="2021-11-08T17:03:48.669" v="1100" actId="47"/>
        <pc:sldMkLst>
          <pc:docMk/>
          <pc:sldMk cId="898778480" sldId="2146847384"/>
        </pc:sldMkLst>
        <pc:spChg chg="mod">
          <ac:chgData name="Atkar, Devyani Anil" userId="30060140-18fd-4dc5-aee4-f2420943b387" providerId="ADAL" clId="{DF9B0C05-CC4F-4882-87E9-3A37CA25A441}" dt="2021-10-29T09:10:05.820" v="286" actId="1076"/>
          <ac:spMkLst>
            <pc:docMk/>
            <pc:sldMk cId="898778480" sldId="2146847384"/>
            <ac:spMk id="4" creationId="{2E0A5F5B-080D-4865-9ACB-407F79174F6C}"/>
          </ac:spMkLst>
        </pc:spChg>
        <pc:spChg chg="add mod">
          <ac:chgData name="Atkar, Devyani Anil" userId="30060140-18fd-4dc5-aee4-f2420943b387" providerId="ADAL" clId="{DF9B0C05-CC4F-4882-87E9-3A37CA25A441}" dt="2021-10-29T09:12:23.875" v="364" actId="1076"/>
          <ac:spMkLst>
            <pc:docMk/>
            <pc:sldMk cId="898778480" sldId="2146847384"/>
            <ac:spMk id="5" creationId="{9C954DB8-2CD1-498C-8172-2AE2B687297C}"/>
          </ac:spMkLst>
        </pc:spChg>
        <pc:spChg chg="mod">
          <ac:chgData name="Atkar, Devyani Anil" userId="30060140-18fd-4dc5-aee4-f2420943b387" providerId="ADAL" clId="{DF9B0C05-CC4F-4882-87E9-3A37CA25A441}" dt="2021-10-29T06:47:52.190" v="238" actId="207"/>
          <ac:spMkLst>
            <pc:docMk/>
            <pc:sldMk cId="898778480" sldId="2146847384"/>
            <ac:spMk id="136" creationId="{2D3AA2DE-029D-4527-AFCB-C871C594222F}"/>
          </ac:spMkLst>
        </pc:spChg>
        <pc:spChg chg="del">
          <ac:chgData name="Atkar, Devyani Anil" userId="30060140-18fd-4dc5-aee4-f2420943b387" providerId="ADAL" clId="{DF9B0C05-CC4F-4882-87E9-3A37CA25A441}" dt="2021-10-29T06:47:00.674" v="230" actId="478"/>
          <ac:spMkLst>
            <pc:docMk/>
            <pc:sldMk cId="898778480" sldId="2146847384"/>
            <ac:spMk id="155" creationId="{6FCCE1EE-0AE1-4701-A05A-2F7E0F911D68}"/>
          </ac:spMkLst>
        </pc:spChg>
        <pc:spChg chg="del">
          <ac:chgData name="Atkar, Devyani Anil" userId="30060140-18fd-4dc5-aee4-f2420943b387" providerId="ADAL" clId="{DF9B0C05-CC4F-4882-87E9-3A37CA25A441}" dt="2021-10-29T06:47:00.674" v="230" actId="478"/>
          <ac:spMkLst>
            <pc:docMk/>
            <pc:sldMk cId="898778480" sldId="2146847384"/>
            <ac:spMk id="157" creationId="{DFDAE6F9-F576-47EA-B03D-F3B71D5CB184}"/>
          </ac:spMkLst>
        </pc:spChg>
        <pc:spChg chg="del">
          <ac:chgData name="Atkar, Devyani Anil" userId="30060140-18fd-4dc5-aee4-f2420943b387" providerId="ADAL" clId="{DF9B0C05-CC4F-4882-87E9-3A37CA25A441}" dt="2021-10-29T06:47:00.674" v="230" actId="478"/>
          <ac:spMkLst>
            <pc:docMk/>
            <pc:sldMk cId="898778480" sldId="2146847384"/>
            <ac:spMk id="158" creationId="{4808F123-1169-43B1-9B38-26927C9D5F05}"/>
          </ac:spMkLst>
        </pc:spChg>
        <pc:spChg chg="del">
          <ac:chgData name="Atkar, Devyani Anil" userId="30060140-18fd-4dc5-aee4-f2420943b387" providerId="ADAL" clId="{DF9B0C05-CC4F-4882-87E9-3A37CA25A441}" dt="2021-10-29T06:47:00.674" v="230" actId="478"/>
          <ac:spMkLst>
            <pc:docMk/>
            <pc:sldMk cId="898778480" sldId="2146847384"/>
            <ac:spMk id="159" creationId="{E5BBFE9E-0A3B-4422-8AF5-FD2CB224AF57}"/>
          </ac:spMkLst>
        </pc:spChg>
        <pc:spChg chg="del">
          <ac:chgData name="Atkar, Devyani Anil" userId="30060140-18fd-4dc5-aee4-f2420943b387" providerId="ADAL" clId="{DF9B0C05-CC4F-4882-87E9-3A37CA25A441}" dt="2021-10-29T06:47:00.674" v="230" actId="478"/>
          <ac:spMkLst>
            <pc:docMk/>
            <pc:sldMk cId="898778480" sldId="2146847384"/>
            <ac:spMk id="160" creationId="{C1895DB2-D1A6-4AA5-BA73-A96B6FF2A762}"/>
          </ac:spMkLst>
        </pc:spChg>
        <pc:spChg chg="del">
          <ac:chgData name="Atkar, Devyani Anil" userId="30060140-18fd-4dc5-aee4-f2420943b387" providerId="ADAL" clId="{DF9B0C05-CC4F-4882-87E9-3A37CA25A441}" dt="2021-10-29T06:47:00.674" v="230" actId="478"/>
          <ac:spMkLst>
            <pc:docMk/>
            <pc:sldMk cId="898778480" sldId="2146847384"/>
            <ac:spMk id="161" creationId="{3759A274-9DFF-487A-88AC-B07ABC6F4D74}"/>
          </ac:spMkLst>
        </pc:spChg>
        <pc:spChg chg="del">
          <ac:chgData name="Atkar, Devyani Anil" userId="30060140-18fd-4dc5-aee4-f2420943b387" providerId="ADAL" clId="{DF9B0C05-CC4F-4882-87E9-3A37CA25A441}" dt="2021-10-29T06:47:00.674" v="230" actId="478"/>
          <ac:spMkLst>
            <pc:docMk/>
            <pc:sldMk cId="898778480" sldId="2146847384"/>
            <ac:spMk id="162" creationId="{4160CDCF-AB6E-4D3D-8E15-BFE8958657D9}"/>
          </ac:spMkLst>
        </pc:spChg>
        <pc:spChg chg="del">
          <ac:chgData name="Atkar, Devyani Anil" userId="30060140-18fd-4dc5-aee4-f2420943b387" providerId="ADAL" clId="{DF9B0C05-CC4F-4882-87E9-3A37CA25A441}" dt="2021-10-29T06:47:00.674" v="230" actId="478"/>
          <ac:spMkLst>
            <pc:docMk/>
            <pc:sldMk cId="898778480" sldId="2146847384"/>
            <ac:spMk id="163" creationId="{46AD3532-C279-43F1-902B-1E5E11056F9A}"/>
          </ac:spMkLst>
        </pc:spChg>
        <pc:spChg chg="del">
          <ac:chgData name="Atkar, Devyani Anil" userId="30060140-18fd-4dc5-aee4-f2420943b387" providerId="ADAL" clId="{DF9B0C05-CC4F-4882-87E9-3A37CA25A441}" dt="2021-10-29T06:46:41.474" v="227" actId="478"/>
          <ac:spMkLst>
            <pc:docMk/>
            <pc:sldMk cId="898778480" sldId="2146847384"/>
            <ac:spMk id="164" creationId="{8B93414F-8FC0-42C0-95C8-9FDCE0FA57FB}"/>
          </ac:spMkLst>
        </pc:spChg>
        <pc:spChg chg="del">
          <ac:chgData name="Atkar, Devyani Anil" userId="30060140-18fd-4dc5-aee4-f2420943b387" providerId="ADAL" clId="{DF9B0C05-CC4F-4882-87E9-3A37CA25A441}" dt="2021-10-29T06:46:26.239" v="223" actId="478"/>
          <ac:spMkLst>
            <pc:docMk/>
            <pc:sldMk cId="898778480" sldId="2146847384"/>
            <ac:spMk id="169" creationId="{15395A1E-77E1-4C11-B434-4A9F0957672A}"/>
          </ac:spMkLst>
        </pc:spChg>
        <pc:spChg chg="del">
          <ac:chgData name="Atkar, Devyani Anil" userId="30060140-18fd-4dc5-aee4-f2420943b387" providerId="ADAL" clId="{DF9B0C05-CC4F-4882-87E9-3A37CA25A441}" dt="2021-10-29T06:46:26.239" v="223" actId="478"/>
          <ac:spMkLst>
            <pc:docMk/>
            <pc:sldMk cId="898778480" sldId="2146847384"/>
            <ac:spMk id="170" creationId="{E2542F0F-7819-40ED-94D4-4B89A966177D}"/>
          </ac:spMkLst>
        </pc:spChg>
        <pc:spChg chg="mod">
          <ac:chgData name="Atkar, Devyani Anil" userId="30060140-18fd-4dc5-aee4-f2420943b387" providerId="ADAL" clId="{DF9B0C05-CC4F-4882-87E9-3A37CA25A441}" dt="2021-10-29T09:12:41.969" v="382" actId="14100"/>
          <ac:spMkLst>
            <pc:docMk/>
            <pc:sldMk cId="898778480" sldId="2146847384"/>
            <ac:spMk id="172" creationId="{6C0A5420-01E8-45C7-B251-FDBA7C45CD40}"/>
          </ac:spMkLst>
        </pc:spChg>
        <pc:spChg chg="del">
          <ac:chgData name="Atkar, Devyani Anil" userId="30060140-18fd-4dc5-aee4-f2420943b387" providerId="ADAL" clId="{DF9B0C05-CC4F-4882-87E9-3A37CA25A441}" dt="2021-10-29T06:46:41.474" v="227" actId="478"/>
          <ac:spMkLst>
            <pc:docMk/>
            <pc:sldMk cId="898778480" sldId="2146847384"/>
            <ac:spMk id="175" creationId="{E4A1191E-1DBA-4AC1-A639-CE159E0C1D41}"/>
          </ac:spMkLst>
        </pc:spChg>
        <pc:spChg chg="del">
          <ac:chgData name="Atkar, Devyani Anil" userId="30060140-18fd-4dc5-aee4-f2420943b387" providerId="ADAL" clId="{DF9B0C05-CC4F-4882-87E9-3A37CA25A441}" dt="2021-10-29T06:46:38.433" v="226" actId="478"/>
          <ac:spMkLst>
            <pc:docMk/>
            <pc:sldMk cId="898778480" sldId="2146847384"/>
            <ac:spMk id="176" creationId="{2ECBC898-DE23-4758-BFF6-4A19EB7F4B1E}"/>
          </ac:spMkLst>
        </pc:spChg>
        <pc:spChg chg="del">
          <ac:chgData name="Atkar, Devyani Anil" userId="30060140-18fd-4dc5-aee4-f2420943b387" providerId="ADAL" clId="{DF9B0C05-CC4F-4882-87E9-3A37CA25A441}" dt="2021-10-29T06:46:41.474" v="227" actId="478"/>
          <ac:spMkLst>
            <pc:docMk/>
            <pc:sldMk cId="898778480" sldId="2146847384"/>
            <ac:spMk id="177" creationId="{104E4774-2949-4FFD-B7EB-916BBAA7E8C5}"/>
          </ac:spMkLst>
        </pc:spChg>
        <pc:spChg chg="del">
          <ac:chgData name="Atkar, Devyani Anil" userId="30060140-18fd-4dc5-aee4-f2420943b387" providerId="ADAL" clId="{DF9B0C05-CC4F-4882-87E9-3A37CA25A441}" dt="2021-10-29T06:46:26.239" v="223" actId="478"/>
          <ac:spMkLst>
            <pc:docMk/>
            <pc:sldMk cId="898778480" sldId="2146847384"/>
            <ac:spMk id="178" creationId="{0F933D43-6CF1-4483-93D0-D2D87483FB20}"/>
          </ac:spMkLst>
        </pc:spChg>
        <pc:spChg chg="del">
          <ac:chgData name="Atkar, Devyani Anil" userId="30060140-18fd-4dc5-aee4-f2420943b387" providerId="ADAL" clId="{DF9B0C05-CC4F-4882-87E9-3A37CA25A441}" dt="2021-10-29T06:46:26.239" v="223" actId="478"/>
          <ac:spMkLst>
            <pc:docMk/>
            <pc:sldMk cId="898778480" sldId="2146847384"/>
            <ac:spMk id="179" creationId="{627BAD3A-0464-48CF-B769-DFC68AB8CB5F}"/>
          </ac:spMkLst>
        </pc:spChg>
        <pc:spChg chg="del">
          <ac:chgData name="Atkar, Devyani Anil" userId="30060140-18fd-4dc5-aee4-f2420943b387" providerId="ADAL" clId="{DF9B0C05-CC4F-4882-87E9-3A37CA25A441}" dt="2021-10-29T06:46:26.239" v="223" actId="478"/>
          <ac:spMkLst>
            <pc:docMk/>
            <pc:sldMk cId="898778480" sldId="2146847384"/>
            <ac:spMk id="181" creationId="{FBDEB3C3-754D-472B-A0EC-15376923EE1D}"/>
          </ac:spMkLst>
        </pc:spChg>
        <pc:spChg chg="del">
          <ac:chgData name="Atkar, Devyani Anil" userId="30060140-18fd-4dc5-aee4-f2420943b387" providerId="ADAL" clId="{DF9B0C05-CC4F-4882-87E9-3A37CA25A441}" dt="2021-10-29T06:46:26.239" v="223" actId="478"/>
          <ac:spMkLst>
            <pc:docMk/>
            <pc:sldMk cId="898778480" sldId="2146847384"/>
            <ac:spMk id="182" creationId="{6132B1B7-F58B-48BE-B145-C03440DFC2B0}"/>
          </ac:spMkLst>
        </pc:spChg>
        <pc:spChg chg="del">
          <ac:chgData name="Atkar, Devyani Anil" userId="30060140-18fd-4dc5-aee4-f2420943b387" providerId="ADAL" clId="{DF9B0C05-CC4F-4882-87E9-3A37CA25A441}" dt="2021-10-29T06:46:26.239" v="223" actId="478"/>
          <ac:spMkLst>
            <pc:docMk/>
            <pc:sldMk cId="898778480" sldId="2146847384"/>
            <ac:spMk id="183" creationId="{9DEADF87-B730-4403-8583-D9F4F44A6127}"/>
          </ac:spMkLst>
        </pc:spChg>
        <pc:spChg chg="mod">
          <ac:chgData name="Atkar, Devyani Anil" userId="30060140-18fd-4dc5-aee4-f2420943b387" providerId="ADAL" clId="{DF9B0C05-CC4F-4882-87E9-3A37CA25A441}" dt="2021-10-29T06:47:19.411" v="232" actId="207"/>
          <ac:spMkLst>
            <pc:docMk/>
            <pc:sldMk cId="898778480" sldId="2146847384"/>
            <ac:spMk id="188" creationId="{2C1FA8F6-98E1-4F66-9D92-B71160A7A046}"/>
          </ac:spMkLst>
        </pc:spChg>
        <pc:spChg chg="del">
          <ac:chgData name="Atkar, Devyani Anil" userId="30060140-18fd-4dc5-aee4-f2420943b387" providerId="ADAL" clId="{DF9B0C05-CC4F-4882-87E9-3A37CA25A441}" dt="2021-10-29T06:46:41.474" v="227" actId="478"/>
          <ac:spMkLst>
            <pc:docMk/>
            <pc:sldMk cId="898778480" sldId="2146847384"/>
            <ac:spMk id="190" creationId="{D7D10A7A-F7C7-4ADF-8DBB-21B88E0A5AFF}"/>
          </ac:spMkLst>
        </pc:spChg>
        <pc:spChg chg="del">
          <ac:chgData name="Atkar, Devyani Anil" userId="30060140-18fd-4dc5-aee4-f2420943b387" providerId="ADAL" clId="{DF9B0C05-CC4F-4882-87E9-3A37CA25A441}" dt="2021-10-29T06:46:26.239" v="223" actId="478"/>
          <ac:spMkLst>
            <pc:docMk/>
            <pc:sldMk cId="898778480" sldId="2146847384"/>
            <ac:spMk id="191" creationId="{463A9683-1BC0-4FA1-B2FC-44D8B6486118}"/>
          </ac:spMkLst>
        </pc:spChg>
        <pc:spChg chg="mod">
          <ac:chgData name="Atkar, Devyani Anil" userId="30060140-18fd-4dc5-aee4-f2420943b387" providerId="ADAL" clId="{DF9B0C05-CC4F-4882-87E9-3A37CA25A441}" dt="2021-10-29T06:47:12.638" v="231" actId="108"/>
          <ac:spMkLst>
            <pc:docMk/>
            <pc:sldMk cId="898778480" sldId="2146847384"/>
            <ac:spMk id="212" creationId="{922A745E-7704-4DA9-B522-04002855C37E}"/>
          </ac:spMkLst>
        </pc:spChg>
        <pc:spChg chg="del">
          <ac:chgData name="Atkar, Devyani Anil" userId="30060140-18fd-4dc5-aee4-f2420943b387" providerId="ADAL" clId="{DF9B0C05-CC4F-4882-87E9-3A37CA25A441}" dt="2021-10-29T06:46:41.474" v="227" actId="478"/>
          <ac:spMkLst>
            <pc:docMk/>
            <pc:sldMk cId="898778480" sldId="2146847384"/>
            <ac:spMk id="213" creationId="{82A32EE6-97E4-43C7-806B-E38CC996DE55}"/>
          </ac:spMkLst>
        </pc:spChg>
        <pc:spChg chg="del">
          <ac:chgData name="Atkar, Devyani Anil" userId="30060140-18fd-4dc5-aee4-f2420943b387" providerId="ADAL" clId="{DF9B0C05-CC4F-4882-87E9-3A37CA25A441}" dt="2021-10-29T06:46:41.474" v="227" actId="478"/>
          <ac:spMkLst>
            <pc:docMk/>
            <pc:sldMk cId="898778480" sldId="2146847384"/>
            <ac:spMk id="214" creationId="{184641FE-B3F5-42FE-98B2-7ECD9421CC17}"/>
          </ac:spMkLst>
        </pc:spChg>
        <pc:spChg chg="del">
          <ac:chgData name="Atkar, Devyani Anil" userId="30060140-18fd-4dc5-aee4-f2420943b387" providerId="ADAL" clId="{DF9B0C05-CC4F-4882-87E9-3A37CA25A441}" dt="2021-10-29T06:46:41.474" v="227" actId="478"/>
          <ac:spMkLst>
            <pc:docMk/>
            <pc:sldMk cId="898778480" sldId="2146847384"/>
            <ac:spMk id="215" creationId="{B58AEFF4-DDF5-4DE6-83B2-1CC268568F1A}"/>
          </ac:spMkLst>
        </pc:spChg>
        <pc:spChg chg="del">
          <ac:chgData name="Atkar, Devyani Anil" userId="30060140-18fd-4dc5-aee4-f2420943b387" providerId="ADAL" clId="{DF9B0C05-CC4F-4882-87E9-3A37CA25A441}" dt="2021-10-29T06:46:41.474" v="227" actId="478"/>
          <ac:spMkLst>
            <pc:docMk/>
            <pc:sldMk cId="898778480" sldId="2146847384"/>
            <ac:spMk id="216" creationId="{9C5AEFC9-722C-45EA-8BBF-8F29CFE18048}"/>
          </ac:spMkLst>
        </pc:spChg>
        <pc:spChg chg="del">
          <ac:chgData name="Atkar, Devyani Anil" userId="30060140-18fd-4dc5-aee4-f2420943b387" providerId="ADAL" clId="{DF9B0C05-CC4F-4882-87E9-3A37CA25A441}" dt="2021-10-29T06:46:41.474" v="227" actId="478"/>
          <ac:spMkLst>
            <pc:docMk/>
            <pc:sldMk cId="898778480" sldId="2146847384"/>
            <ac:spMk id="217" creationId="{B517A1E6-4F95-476A-BFB3-BA31297466E6}"/>
          </ac:spMkLst>
        </pc:spChg>
        <pc:spChg chg="del">
          <ac:chgData name="Atkar, Devyani Anil" userId="30060140-18fd-4dc5-aee4-f2420943b387" providerId="ADAL" clId="{DF9B0C05-CC4F-4882-87E9-3A37CA25A441}" dt="2021-10-29T06:46:41.474" v="227" actId="478"/>
          <ac:spMkLst>
            <pc:docMk/>
            <pc:sldMk cId="898778480" sldId="2146847384"/>
            <ac:spMk id="218" creationId="{0352CB39-40B0-4624-895B-A1F10F27C635}"/>
          </ac:spMkLst>
        </pc:spChg>
        <pc:spChg chg="del">
          <ac:chgData name="Atkar, Devyani Anil" userId="30060140-18fd-4dc5-aee4-f2420943b387" providerId="ADAL" clId="{DF9B0C05-CC4F-4882-87E9-3A37CA25A441}" dt="2021-10-29T06:46:38.433" v="226" actId="478"/>
          <ac:spMkLst>
            <pc:docMk/>
            <pc:sldMk cId="898778480" sldId="2146847384"/>
            <ac:spMk id="219" creationId="{5CFFF38E-F420-49F2-8564-D4E915E13AA9}"/>
          </ac:spMkLst>
        </pc:spChg>
        <pc:spChg chg="del">
          <ac:chgData name="Atkar, Devyani Anil" userId="30060140-18fd-4dc5-aee4-f2420943b387" providerId="ADAL" clId="{DF9B0C05-CC4F-4882-87E9-3A37CA25A441}" dt="2021-10-29T06:46:38.433" v="226" actId="478"/>
          <ac:spMkLst>
            <pc:docMk/>
            <pc:sldMk cId="898778480" sldId="2146847384"/>
            <ac:spMk id="220" creationId="{11AC825E-D627-45E9-85FF-6A58BEE49119}"/>
          </ac:spMkLst>
        </pc:spChg>
        <pc:spChg chg="del">
          <ac:chgData name="Atkar, Devyani Anil" userId="30060140-18fd-4dc5-aee4-f2420943b387" providerId="ADAL" clId="{DF9B0C05-CC4F-4882-87E9-3A37CA25A441}" dt="2021-10-29T06:46:38.433" v="226" actId="478"/>
          <ac:spMkLst>
            <pc:docMk/>
            <pc:sldMk cId="898778480" sldId="2146847384"/>
            <ac:spMk id="221" creationId="{F410DE05-0A9D-4FDC-878A-CA148F603BAD}"/>
          </ac:spMkLst>
        </pc:spChg>
        <pc:spChg chg="del">
          <ac:chgData name="Atkar, Devyani Anil" userId="30060140-18fd-4dc5-aee4-f2420943b387" providerId="ADAL" clId="{DF9B0C05-CC4F-4882-87E9-3A37CA25A441}" dt="2021-10-29T06:46:38.433" v="226" actId="478"/>
          <ac:spMkLst>
            <pc:docMk/>
            <pc:sldMk cId="898778480" sldId="2146847384"/>
            <ac:spMk id="222" creationId="{93785FE4-8DB9-490A-99C5-C3629D7BE0A6}"/>
          </ac:spMkLst>
        </pc:spChg>
        <pc:spChg chg="del">
          <ac:chgData name="Atkar, Devyani Anil" userId="30060140-18fd-4dc5-aee4-f2420943b387" providerId="ADAL" clId="{DF9B0C05-CC4F-4882-87E9-3A37CA25A441}" dt="2021-10-29T06:46:38.433" v="226" actId="478"/>
          <ac:spMkLst>
            <pc:docMk/>
            <pc:sldMk cId="898778480" sldId="2146847384"/>
            <ac:spMk id="223" creationId="{3710255E-F31D-45E2-9FA9-A132D8E0278B}"/>
          </ac:spMkLst>
        </pc:spChg>
        <pc:spChg chg="del">
          <ac:chgData name="Atkar, Devyani Anil" userId="30060140-18fd-4dc5-aee4-f2420943b387" providerId="ADAL" clId="{DF9B0C05-CC4F-4882-87E9-3A37CA25A441}" dt="2021-10-29T06:46:38.433" v="226" actId="478"/>
          <ac:spMkLst>
            <pc:docMk/>
            <pc:sldMk cId="898778480" sldId="2146847384"/>
            <ac:spMk id="224" creationId="{2C1412E9-7FA6-4AE3-8523-3124622303C2}"/>
          </ac:spMkLst>
        </pc:spChg>
        <pc:spChg chg="del">
          <ac:chgData name="Atkar, Devyani Anil" userId="30060140-18fd-4dc5-aee4-f2420943b387" providerId="ADAL" clId="{DF9B0C05-CC4F-4882-87E9-3A37CA25A441}" dt="2021-10-29T06:46:38.433" v="226" actId="478"/>
          <ac:spMkLst>
            <pc:docMk/>
            <pc:sldMk cId="898778480" sldId="2146847384"/>
            <ac:spMk id="225" creationId="{FD955147-CBB8-46F3-9A43-8E7F7267EF1A}"/>
          </ac:spMkLst>
        </pc:spChg>
        <pc:spChg chg="del">
          <ac:chgData name="Atkar, Devyani Anil" userId="30060140-18fd-4dc5-aee4-f2420943b387" providerId="ADAL" clId="{DF9B0C05-CC4F-4882-87E9-3A37CA25A441}" dt="2021-10-29T06:46:38.433" v="226" actId="478"/>
          <ac:spMkLst>
            <pc:docMk/>
            <pc:sldMk cId="898778480" sldId="2146847384"/>
            <ac:spMk id="226" creationId="{7B1E98FF-0A54-432F-A836-CD118C23CE61}"/>
          </ac:spMkLst>
        </pc:spChg>
        <pc:spChg chg="del">
          <ac:chgData name="Atkar, Devyani Anil" userId="30060140-18fd-4dc5-aee4-f2420943b387" providerId="ADAL" clId="{DF9B0C05-CC4F-4882-87E9-3A37CA25A441}" dt="2021-10-29T06:46:38.433" v="226" actId="478"/>
          <ac:spMkLst>
            <pc:docMk/>
            <pc:sldMk cId="898778480" sldId="2146847384"/>
            <ac:spMk id="227" creationId="{0E0AD5B0-E467-4F0F-BA29-124B55C15B98}"/>
          </ac:spMkLst>
        </pc:spChg>
        <pc:spChg chg="del">
          <ac:chgData name="Atkar, Devyani Anil" userId="30060140-18fd-4dc5-aee4-f2420943b387" providerId="ADAL" clId="{DF9B0C05-CC4F-4882-87E9-3A37CA25A441}" dt="2021-10-29T06:46:38.433" v="226" actId="478"/>
          <ac:spMkLst>
            <pc:docMk/>
            <pc:sldMk cId="898778480" sldId="2146847384"/>
            <ac:spMk id="228" creationId="{D0884360-49BA-416B-BCA8-28E662CC310F}"/>
          </ac:spMkLst>
        </pc:spChg>
        <pc:spChg chg="del">
          <ac:chgData name="Atkar, Devyani Anil" userId="30060140-18fd-4dc5-aee4-f2420943b387" providerId="ADAL" clId="{DF9B0C05-CC4F-4882-87E9-3A37CA25A441}" dt="2021-10-29T06:46:38.433" v="226" actId="478"/>
          <ac:spMkLst>
            <pc:docMk/>
            <pc:sldMk cId="898778480" sldId="2146847384"/>
            <ac:spMk id="229" creationId="{E813E92B-A912-442A-8F12-2ED373DD86C7}"/>
          </ac:spMkLst>
        </pc:spChg>
        <pc:spChg chg="mod">
          <ac:chgData name="Atkar, Devyani Anil" userId="30060140-18fd-4dc5-aee4-f2420943b387" providerId="ADAL" clId="{DF9B0C05-CC4F-4882-87E9-3A37CA25A441}" dt="2021-10-29T09:12:37.722" v="380" actId="14100"/>
          <ac:spMkLst>
            <pc:docMk/>
            <pc:sldMk cId="898778480" sldId="2146847384"/>
            <ac:spMk id="232" creationId="{AD0382FA-0823-4B94-BB3A-F8F4A8F41CB3}"/>
          </ac:spMkLst>
        </pc:spChg>
        <pc:spChg chg="mod">
          <ac:chgData name="Atkar, Devyani Anil" userId="30060140-18fd-4dc5-aee4-f2420943b387" providerId="ADAL" clId="{DF9B0C05-CC4F-4882-87E9-3A37CA25A441}" dt="2021-10-29T09:12:26.904" v="377" actId="1036"/>
          <ac:spMkLst>
            <pc:docMk/>
            <pc:sldMk cId="898778480" sldId="2146847384"/>
            <ac:spMk id="233" creationId="{5C2E9B3E-06BB-4B71-A55E-14EFC74DC8E9}"/>
          </ac:spMkLst>
        </pc:spChg>
        <pc:spChg chg="mod">
          <ac:chgData name="Atkar, Devyani Anil" userId="30060140-18fd-4dc5-aee4-f2420943b387" providerId="ADAL" clId="{DF9B0C05-CC4F-4882-87E9-3A37CA25A441}" dt="2021-10-29T09:12:26.904" v="377" actId="1036"/>
          <ac:spMkLst>
            <pc:docMk/>
            <pc:sldMk cId="898778480" sldId="2146847384"/>
            <ac:spMk id="234" creationId="{3543B78E-FB2A-4096-847E-F9B0769576E0}"/>
          </ac:spMkLst>
        </pc:spChg>
        <pc:spChg chg="mod topLvl">
          <ac:chgData name="Atkar, Devyani Anil" userId="30060140-18fd-4dc5-aee4-f2420943b387" providerId="ADAL" clId="{DF9B0C05-CC4F-4882-87E9-3A37CA25A441}" dt="2021-10-29T06:48:02.521" v="240" actId="108"/>
          <ac:spMkLst>
            <pc:docMk/>
            <pc:sldMk cId="898778480" sldId="2146847384"/>
            <ac:spMk id="235" creationId="{8A9BBD32-2799-434C-B487-648A507DFAA7}"/>
          </ac:spMkLst>
        </pc:spChg>
        <pc:spChg chg="mod topLvl">
          <ac:chgData name="Atkar, Devyani Anil" userId="30060140-18fd-4dc5-aee4-f2420943b387" providerId="ADAL" clId="{DF9B0C05-CC4F-4882-87E9-3A37CA25A441}" dt="2021-10-29T06:48:13.127" v="250" actId="1035"/>
          <ac:spMkLst>
            <pc:docMk/>
            <pc:sldMk cId="898778480" sldId="2146847384"/>
            <ac:spMk id="236" creationId="{3B3A2D9A-5E99-4356-B2A9-5450CC1B346B}"/>
          </ac:spMkLst>
        </pc:spChg>
        <pc:spChg chg="mod topLvl">
          <ac:chgData name="Atkar, Devyani Anil" userId="30060140-18fd-4dc5-aee4-f2420943b387" providerId="ADAL" clId="{DF9B0C05-CC4F-4882-87E9-3A37CA25A441}" dt="2021-10-29T06:48:16.980" v="254" actId="1036"/>
          <ac:spMkLst>
            <pc:docMk/>
            <pc:sldMk cId="898778480" sldId="2146847384"/>
            <ac:spMk id="237" creationId="{C5497DF1-D696-4DC6-915E-9129F32B1F4A}"/>
          </ac:spMkLst>
        </pc:spChg>
        <pc:spChg chg="del mod topLvl">
          <ac:chgData name="Atkar, Devyani Anil" userId="30060140-18fd-4dc5-aee4-f2420943b387" providerId="ADAL" clId="{DF9B0C05-CC4F-4882-87E9-3A37CA25A441}" dt="2021-10-29T06:46:55.208" v="229" actId="478"/>
          <ac:spMkLst>
            <pc:docMk/>
            <pc:sldMk cId="898778480" sldId="2146847384"/>
            <ac:spMk id="238" creationId="{9F4A629B-A5D0-4FDF-8442-FFC1DD04C67B}"/>
          </ac:spMkLst>
        </pc:spChg>
        <pc:spChg chg="del mod topLvl">
          <ac:chgData name="Atkar, Devyani Anil" userId="30060140-18fd-4dc5-aee4-f2420943b387" providerId="ADAL" clId="{DF9B0C05-CC4F-4882-87E9-3A37CA25A441}" dt="2021-10-29T06:46:55.208" v="229" actId="478"/>
          <ac:spMkLst>
            <pc:docMk/>
            <pc:sldMk cId="898778480" sldId="2146847384"/>
            <ac:spMk id="239" creationId="{0296D15C-2288-48C3-B6B4-C97E74912B0B}"/>
          </ac:spMkLst>
        </pc:spChg>
        <pc:spChg chg="del mod topLvl">
          <ac:chgData name="Atkar, Devyani Anil" userId="30060140-18fd-4dc5-aee4-f2420943b387" providerId="ADAL" clId="{DF9B0C05-CC4F-4882-87E9-3A37CA25A441}" dt="2021-10-29T06:46:55.208" v="229" actId="478"/>
          <ac:spMkLst>
            <pc:docMk/>
            <pc:sldMk cId="898778480" sldId="2146847384"/>
            <ac:spMk id="240" creationId="{BC5720C9-B08C-45ED-B40E-7AC797287608}"/>
          </ac:spMkLst>
        </pc:spChg>
        <pc:spChg chg="del mod topLvl">
          <ac:chgData name="Atkar, Devyani Anil" userId="30060140-18fd-4dc5-aee4-f2420943b387" providerId="ADAL" clId="{DF9B0C05-CC4F-4882-87E9-3A37CA25A441}" dt="2021-10-29T06:46:55.208" v="229" actId="478"/>
          <ac:spMkLst>
            <pc:docMk/>
            <pc:sldMk cId="898778480" sldId="2146847384"/>
            <ac:spMk id="241" creationId="{1AF2DA1A-FF0A-4168-85F6-55559EE1C7C4}"/>
          </ac:spMkLst>
        </pc:spChg>
        <pc:spChg chg="del mod topLvl">
          <ac:chgData name="Atkar, Devyani Anil" userId="30060140-18fd-4dc5-aee4-f2420943b387" providerId="ADAL" clId="{DF9B0C05-CC4F-4882-87E9-3A37CA25A441}" dt="2021-10-29T06:46:55.208" v="229" actId="478"/>
          <ac:spMkLst>
            <pc:docMk/>
            <pc:sldMk cId="898778480" sldId="2146847384"/>
            <ac:spMk id="242" creationId="{4564FCB3-7777-4AD5-82CD-33124E931665}"/>
          </ac:spMkLst>
        </pc:spChg>
        <pc:spChg chg="del mod topLvl">
          <ac:chgData name="Atkar, Devyani Anil" userId="30060140-18fd-4dc5-aee4-f2420943b387" providerId="ADAL" clId="{DF9B0C05-CC4F-4882-87E9-3A37CA25A441}" dt="2021-10-29T06:46:55.208" v="229" actId="478"/>
          <ac:spMkLst>
            <pc:docMk/>
            <pc:sldMk cId="898778480" sldId="2146847384"/>
            <ac:spMk id="243" creationId="{FA3D1C4C-3921-4E0A-8555-E2A3957FA760}"/>
          </ac:spMkLst>
        </pc:spChg>
        <pc:spChg chg="del mod topLvl">
          <ac:chgData name="Atkar, Devyani Anil" userId="30060140-18fd-4dc5-aee4-f2420943b387" providerId="ADAL" clId="{DF9B0C05-CC4F-4882-87E9-3A37CA25A441}" dt="2021-10-29T06:46:55.208" v="229" actId="478"/>
          <ac:spMkLst>
            <pc:docMk/>
            <pc:sldMk cId="898778480" sldId="2146847384"/>
            <ac:spMk id="244" creationId="{941C877E-250A-4749-A6EB-8692FE1E3D04}"/>
          </ac:spMkLst>
        </pc:spChg>
        <pc:spChg chg="del mod topLvl">
          <ac:chgData name="Atkar, Devyani Anil" userId="30060140-18fd-4dc5-aee4-f2420943b387" providerId="ADAL" clId="{DF9B0C05-CC4F-4882-87E9-3A37CA25A441}" dt="2021-10-29T06:46:55.208" v="229" actId="478"/>
          <ac:spMkLst>
            <pc:docMk/>
            <pc:sldMk cId="898778480" sldId="2146847384"/>
            <ac:spMk id="245" creationId="{D20002F8-AB63-4D96-9F93-CC72EDFD33B2}"/>
          </ac:spMkLst>
        </pc:spChg>
        <pc:spChg chg="del mod topLvl">
          <ac:chgData name="Atkar, Devyani Anil" userId="30060140-18fd-4dc5-aee4-f2420943b387" providerId="ADAL" clId="{DF9B0C05-CC4F-4882-87E9-3A37CA25A441}" dt="2021-10-29T06:46:55.208" v="229" actId="478"/>
          <ac:spMkLst>
            <pc:docMk/>
            <pc:sldMk cId="898778480" sldId="2146847384"/>
            <ac:spMk id="246" creationId="{E298B085-DACA-4E0B-957E-8539D46B7152}"/>
          </ac:spMkLst>
        </pc:spChg>
        <pc:spChg chg="del mod topLvl">
          <ac:chgData name="Atkar, Devyani Anil" userId="30060140-18fd-4dc5-aee4-f2420943b387" providerId="ADAL" clId="{DF9B0C05-CC4F-4882-87E9-3A37CA25A441}" dt="2021-10-29T06:46:55.208" v="229" actId="478"/>
          <ac:spMkLst>
            <pc:docMk/>
            <pc:sldMk cId="898778480" sldId="2146847384"/>
            <ac:spMk id="247" creationId="{693B5802-DA00-45D8-AB0C-EAFFC339E7A3}"/>
          </ac:spMkLst>
        </pc:spChg>
        <pc:spChg chg="del mod topLvl">
          <ac:chgData name="Atkar, Devyani Anil" userId="30060140-18fd-4dc5-aee4-f2420943b387" providerId="ADAL" clId="{DF9B0C05-CC4F-4882-87E9-3A37CA25A441}" dt="2021-10-29T06:46:55.208" v="229" actId="478"/>
          <ac:spMkLst>
            <pc:docMk/>
            <pc:sldMk cId="898778480" sldId="2146847384"/>
            <ac:spMk id="248" creationId="{75A95244-6B3A-46A4-B819-81B48008941F}"/>
          </ac:spMkLst>
        </pc:spChg>
        <pc:spChg chg="del mod topLvl">
          <ac:chgData name="Atkar, Devyani Anil" userId="30060140-18fd-4dc5-aee4-f2420943b387" providerId="ADAL" clId="{DF9B0C05-CC4F-4882-87E9-3A37CA25A441}" dt="2021-10-29T06:46:55.208" v="229" actId="478"/>
          <ac:spMkLst>
            <pc:docMk/>
            <pc:sldMk cId="898778480" sldId="2146847384"/>
            <ac:spMk id="249" creationId="{86411F37-D16E-408A-B091-324C9EA9C0F8}"/>
          </ac:spMkLst>
        </pc:spChg>
        <pc:spChg chg="del mod topLvl">
          <ac:chgData name="Atkar, Devyani Anil" userId="30060140-18fd-4dc5-aee4-f2420943b387" providerId="ADAL" clId="{DF9B0C05-CC4F-4882-87E9-3A37CA25A441}" dt="2021-10-29T06:46:55.208" v="229" actId="478"/>
          <ac:spMkLst>
            <pc:docMk/>
            <pc:sldMk cId="898778480" sldId="2146847384"/>
            <ac:spMk id="250" creationId="{9A253CEA-CB62-4C38-AA60-9C0AD17358FD}"/>
          </ac:spMkLst>
        </pc:spChg>
        <pc:spChg chg="del mod topLvl">
          <ac:chgData name="Atkar, Devyani Anil" userId="30060140-18fd-4dc5-aee4-f2420943b387" providerId="ADAL" clId="{DF9B0C05-CC4F-4882-87E9-3A37CA25A441}" dt="2021-10-29T06:46:55.208" v="229" actId="478"/>
          <ac:spMkLst>
            <pc:docMk/>
            <pc:sldMk cId="898778480" sldId="2146847384"/>
            <ac:spMk id="251" creationId="{E4D3281D-5913-4AD7-8633-00777950202F}"/>
          </ac:spMkLst>
        </pc:spChg>
        <pc:spChg chg="del mod topLvl">
          <ac:chgData name="Atkar, Devyani Anil" userId="30060140-18fd-4dc5-aee4-f2420943b387" providerId="ADAL" clId="{DF9B0C05-CC4F-4882-87E9-3A37CA25A441}" dt="2021-10-29T06:46:55.208" v="229" actId="478"/>
          <ac:spMkLst>
            <pc:docMk/>
            <pc:sldMk cId="898778480" sldId="2146847384"/>
            <ac:spMk id="252" creationId="{962DC4CC-A63D-48D9-865D-3D9451810AB0}"/>
          </ac:spMkLst>
        </pc:spChg>
        <pc:spChg chg="del mod topLvl">
          <ac:chgData name="Atkar, Devyani Anil" userId="30060140-18fd-4dc5-aee4-f2420943b387" providerId="ADAL" clId="{DF9B0C05-CC4F-4882-87E9-3A37CA25A441}" dt="2021-10-29T06:46:55.208" v="229" actId="478"/>
          <ac:spMkLst>
            <pc:docMk/>
            <pc:sldMk cId="898778480" sldId="2146847384"/>
            <ac:spMk id="253" creationId="{469F4A01-140C-40A1-9BDF-DC8949283EDA}"/>
          </ac:spMkLst>
        </pc:spChg>
        <pc:spChg chg="del mod topLvl">
          <ac:chgData name="Atkar, Devyani Anil" userId="30060140-18fd-4dc5-aee4-f2420943b387" providerId="ADAL" clId="{DF9B0C05-CC4F-4882-87E9-3A37CA25A441}" dt="2021-10-29T06:46:55.208" v="229" actId="478"/>
          <ac:spMkLst>
            <pc:docMk/>
            <pc:sldMk cId="898778480" sldId="2146847384"/>
            <ac:spMk id="254" creationId="{6C5F8A87-B9E2-4D57-AFF0-855B020F2F4F}"/>
          </ac:spMkLst>
        </pc:spChg>
        <pc:spChg chg="del mod topLvl">
          <ac:chgData name="Atkar, Devyani Anil" userId="30060140-18fd-4dc5-aee4-f2420943b387" providerId="ADAL" clId="{DF9B0C05-CC4F-4882-87E9-3A37CA25A441}" dt="2021-10-29T06:46:55.208" v="229" actId="478"/>
          <ac:spMkLst>
            <pc:docMk/>
            <pc:sldMk cId="898778480" sldId="2146847384"/>
            <ac:spMk id="255" creationId="{1CE58D57-E26D-4C65-986A-F422EAEA2860}"/>
          </ac:spMkLst>
        </pc:spChg>
        <pc:spChg chg="del mod topLvl">
          <ac:chgData name="Atkar, Devyani Anil" userId="30060140-18fd-4dc5-aee4-f2420943b387" providerId="ADAL" clId="{DF9B0C05-CC4F-4882-87E9-3A37CA25A441}" dt="2021-10-29T06:46:55.208" v="229" actId="478"/>
          <ac:spMkLst>
            <pc:docMk/>
            <pc:sldMk cId="898778480" sldId="2146847384"/>
            <ac:spMk id="256" creationId="{CD8CBE52-E0C3-4213-9300-FD1E5ED87454}"/>
          </ac:spMkLst>
        </pc:spChg>
        <pc:spChg chg="del mod topLvl">
          <ac:chgData name="Atkar, Devyani Anil" userId="30060140-18fd-4dc5-aee4-f2420943b387" providerId="ADAL" clId="{DF9B0C05-CC4F-4882-87E9-3A37CA25A441}" dt="2021-10-29T06:46:55.208" v="229" actId="478"/>
          <ac:spMkLst>
            <pc:docMk/>
            <pc:sldMk cId="898778480" sldId="2146847384"/>
            <ac:spMk id="257" creationId="{C1B3ACF1-44B4-4C6F-B4BA-C57314AD4BDB}"/>
          </ac:spMkLst>
        </pc:spChg>
        <pc:spChg chg="del mod topLvl">
          <ac:chgData name="Atkar, Devyani Anil" userId="30060140-18fd-4dc5-aee4-f2420943b387" providerId="ADAL" clId="{DF9B0C05-CC4F-4882-87E9-3A37CA25A441}" dt="2021-10-29T06:46:55.208" v="229" actId="478"/>
          <ac:spMkLst>
            <pc:docMk/>
            <pc:sldMk cId="898778480" sldId="2146847384"/>
            <ac:spMk id="258" creationId="{E5D80F36-D998-4858-B977-38F2202586E0}"/>
          </ac:spMkLst>
        </pc:spChg>
        <pc:spChg chg="del mod topLvl">
          <ac:chgData name="Atkar, Devyani Anil" userId="30060140-18fd-4dc5-aee4-f2420943b387" providerId="ADAL" clId="{DF9B0C05-CC4F-4882-87E9-3A37CA25A441}" dt="2021-10-29T06:46:55.208" v="229" actId="478"/>
          <ac:spMkLst>
            <pc:docMk/>
            <pc:sldMk cId="898778480" sldId="2146847384"/>
            <ac:spMk id="259" creationId="{6FC72F97-DADF-48D3-BDA4-1D3A7FE89311}"/>
          </ac:spMkLst>
        </pc:spChg>
        <pc:spChg chg="del mod topLvl">
          <ac:chgData name="Atkar, Devyani Anil" userId="30060140-18fd-4dc5-aee4-f2420943b387" providerId="ADAL" clId="{DF9B0C05-CC4F-4882-87E9-3A37CA25A441}" dt="2021-10-29T06:46:55.208" v="229" actId="478"/>
          <ac:spMkLst>
            <pc:docMk/>
            <pc:sldMk cId="898778480" sldId="2146847384"/>
            <ac:spMk id="260" creationId="{49467F65-E7C7-4DA5-8717-60695B6FE6C6}"/>
          </ac:spMkLst>
        </pc:spChg>
        <pc:spChg chg="del mod topLvl">
          <ac:chgData name="Atkar, Devyani Anil" userId="30060140-18fd-4dc5-aee4-f2420943b387" providerId="ADAL" clId="{DF9B0C05-CC4F-4882-87E9-3A37CA25A441}" dt="2021-10-29T06:46:55.208" v="229" actId="478"/>
          <ac:spMkLst>
            <pc:docMk/>
            <pc:sldMk cId="898778480" sldId="2146847384"/>
            <ac:spMk id="261" creationId="{1CDB94C3-F764-4A0B-9CF9-2024F78C0D1B}"/>
          </ac:spMkLst>
        </pc:spChg>
        <pc:spChg chg="del mod topLvl">
          <ac:chgData name="Atkar, Devyani Anil" userId="30060140-18fd-4dc5-aee4-f2420943b387" providerId="ADAL" clId="{DF9B0C05-CC4F-4882-87E9-3A37CA25A441}" dt="2021-10-29T06:46:55.208" v="229" actId="478"/>
          <ac:spMkLst>
            <pc:docMk/>
            <pc:sldMk cId="898778480" sldId="2146847384"/>
            <ac:spMk id="262" creationId="{90882B88-771D-402E-A2D6-3B0FAB5A3B88}"/>
          </ac:spMkLst>
        </pc:spChg>
        <pc:spChg chg="del mod topLvl">
          <ac:chgData name="Atkar, Devyani Anil" userId="30060140-18fd-4dc5-aee4-f2420943b387" providerId="ADAL" clId="{DF9B0C05-CC4F-4882-87E9-3A37CA25A441}" dt="2021-10-29T06:46:55.208" v="229" actId="478"/>
          <ac:spMkLst>
            <pc:docMk/>
            <pc:sldMk cId="898778480" sldId="2146847384"/>
            <ac:spMk id="263" creationId="{7069D3A7-286D-48AD-8215-F4EAD35524B1}"/>
          </ac:spMkLst>
        </pc:spChg>
        <pc:spChg chg="del mod topLvl">
          <ac:chgData name="Atkar, Devyani Anil" userId="30060140-18fd-4dc5-aee4-f2420943b387" providerId="ADAL" clId="{DF9B0C05-CC4F-4882-87E9-3A37CA25A441}" dt="2021-10-29T06:46:55.208" v="229" actId="478"/>
          <ac:spMkLst>
            <pc:docMk/>
            <pc:sldMk cId="898778480" sldId="2146847384"/>
            <ac:spMk id="264" creationId="{45663FB7-5990-42F6-8108-09CF80A4F31F}"/>
          </ac:spMkLst>
        </pc:spChg>
        <pc:spChg chg="del mod topLvl">
          <ac:chgData name="Atkar, Devyani Anil" userId="30060140-18fd-4dc5-aee4-f2420943b387" providerId="ADAL" clId="{DF9B0C05-CC4F-4882-87E9-3A37CA25A441}" dt="2021-10-29T06:46:55.208" v="229" actId="478"/>
          <ac:spMkLst>
            <pc:docMk/>
            <pc:sldMk cId="898778480" sldId="2146847384"/>
            <ac:spMk id="265" creationId="{B76AD24F-B23A-4CDF-97BC-2E265E964FFD}"/>
          </ac:spMkLst>
        </pc:spChg>
        <pc:spChg chg="del mod topLvl">
          <ac:chgData name="Atkar, Devyani Anil" userId="30060140-18fd-4dc5-aee4-f2420943b387" providerId="ADAL" clId="{DF9B0C05-CC4F-4882-87E9-3A37CA25A441}" dt="2021-10-29T06:46:55.208" v="229" actId="478"/>
          <ac:spMkLst>
            <pc:docMk/>
            <pc:sldMk cId="898778480" sldId="2146847384"/>
            <ac:spMk id="266" creationId="{B4B90596-D772-4EA6-8FD7-946B7099AA8F}"/>
          </ac:spMkLst>
        </pc:spChg>
        <pc:spChg chg="del mod topLvl">
          <ac:chgData name="Atkar, Devyani Anil" userId="30060140-18fd-4dc5-aee4-f2420943b387" providerId="ADAL" clId="{DF9B0C05-CC4F-4882-87E9-3A37CA25A441}" dt="2021-10-29T06:46:55.208" v="229" actId="478"/>
          <ac:spMkLst>
            <pc:docMk/>
            <pc:sldMk cId="898778480" sldId="2146847384"/>
            <ac:spMk id="267" creationId="{F4DE9205-F8BF-4F28-80D2-47F7F1532890}"/>
          </ac:spMkLst>
        </pc:spChg>
        <pc:spChg chg="del mod topLvl">
          <ac:chgData name="Atkar, Devyani Anil" userId="30060140-18fd-4dc5-aee4-f2420943b387" providerId="ADAL" clId="{DF9B0C05-CC4F-4882-87E9-3A37CA25A441}" dt="2021-10-29T06:46:55.208" v="229" actId="478"/>
          <ac:spMkLst>
            <pc:docMk/>
            <pc:sldMk cId="898778480" sldId="2146847384"/>
            <ac:spMk id="268" creationId="{8A4663C3-8AD5-442C-A9D0-7356A3FE0111}"/>
          </ac:spMkLst>
        </pc:spChg>
        <pc:spChg chg="del mod topLvl">
          <ac:chgData name="Atkar, Devyani Anil" userId="30060140-18fd-4dc5-aee4-f2420943b387" providerId="ADAL" clId="{DF9B0C05-CC4F-4882-87E9-3A37CA25A441}" dt="2021-10-29T06:46:55.208" v="229" actId="478"/>
          <ac:spMkLst>
            <pc:docMk/>
            <pc:sldMk cId="898778480" sldId="2146847384"/>
            <ac:spMk id="269" creationId="{9B2606C5-F99F-4FB3-99B5-CD8B13E2487C}"/>
          </ac:spMkLst>
        </pc:spChg>
        <pc:spChg chg="del mod topLvl">
          <ac:chgData name="Atkar, Devyani Anil" userId="30060140-18fd-4dc5-aee4-f2420943b387" providerId="ADAL" clId="{DF9B0C05-CC4F-4882-87E9-3A37CA25A441}" dt="2021-10-29T06:46:55.208" v="229" actId="478"/>
          <ac:spMkLst>
            <pc:docMk/>
            <pc:sldMk cId="898778480" sldId="2146847384"/>
            <ac:spMk id="270" creationId="{5FF701F2-9417-411F-9AA8-C184C8769690}"/>
          </ac:spMkLst>
        </pc:spChg>
        <pc:spChg chg="del mod topLvl">
          <ac:chgData name="Atkar, Devyani Anil" userId="30060140-18fd-4dc5-aee4-f2420943b387" providerId="ADAL" clId="{DF9B0C05-CC4F-4882-87E9-3A37CA25A441}" dt="2021-10-29T06:46:55.208" v="229" actId="478"/>
          <ac:spMkLst>
            <pc:docMk/>
            <pc:sldMk cId="898778480" sldId="2146847384"/>
            <ac:spMk id="271" creationId="{2B08BC60-00FE-423B-B816-96E7DF83500C}"/>
          </ac:spMkLst>
        </pc:spChg>
        <pc:spChg chg="del mod topLvl">
          <ac:chgData name="Atkar, Devyani Anil" userId="30060140-18fd-4dc5-aee4-f2420943b387" providerId="ADAL" clId="{DF9B0C05-CC4F-4882-87E9-3A37CA25A441}" dt="2021-10-29T06:46:55.208" v="229" actId="478"/>
          <ac:spMkLst>
            <pc:docMk/>
            <pc:sldMk cId="898778480" sldId="2146847384"/>
            <ac:spMk id="272" creationId="{F3E7EA51-5FC1-4BE7-801E-12562E3B5D81}"/>
          </ac:spMkLst>
        </pc:spChg>
        <pc:spChg chg="del mod topLvl">
          <ac:chgData name="Atkar, Devyani Anil" userId="30060140-18fd-4dc5-aee4-f2420943b387" providerId="ADAL" clId="{DF9B0C05-CC4F-4882-87E9-3A37CA25A441}" dt="2021-10-29T06:46:55.208" v="229" actId="478"/>
          <ac:spMkLst>
            <pc:docMk/>
            <pc:sldMk cId="898778480" sldId="2146847384"/>
            <ac:spMk id="273" creationId="{2DF4406B-B841-4074-B88A-0CEF8F911888}"/>
          </ac:spMkLst>
        </pc:spChg>
        <pc:spChg chg="del mod topLvl">
          <ac:chgData name="Atkar, Devyani Anil" userId="30060140-18fd-4dc5-aee4-f2420943b387" providerId="ADAL" clId="{DF9B0C05-CC4F-4882-87E9-3A37CA25A441}" dt="2021-10-29T06:46:55.208" v="229" actId="478"/>
          <ac:spMkLst>
            <pc:docMk/>
            <pc:sldMk cId="898778480" sldId="2146847384"/>
            <ac:spMk id="274" creationId="{365B784F-175F-4836-AFE1-A97E7B8EDC2E}"/>
          </ac:spMkLst>
        </pc:spChg>
        <pc:spChg chg="del mod topLvl">
          <ac:chgData name="Atkar, Devyani Anil" userId="30060140-18fd-4dc5-aee4-f2420943b387" providerId="ADAL" clId="{DF9B0C05-CC4F-4882-87E9-3A37CA25A441}" dt="2021-10-29T06:46:55.208" v="229" actId="478"/>
          <ac:spMkLst>
            <pc:docMk/>
            <pc:sldMk cId="898778480" sldId="2146847384"/>
            <ac:spMk id="275" creationId="{87B07604-B852-427D-9AF9-6FCF8FC8F9E4}"/>
          </ac:spMkLst>
        </pc:spChg>
        <pc:spChg chg="del">
          <ac:chgData name="Atkar, Devyani Anil" userId="30060140-18fd-4dc5-aee4-f2420943b387" providerId="ADAL" clId="{DF9B0C05-CC4F-4882-87E9-3A37CA25A441}" dt="2021-10-29T06:46:38.433" v="226" actId="478"/>
          <ac:spMkLst>
            <pc:docMk/>
            <pc:sldMk cId="898778480" sldId="2146847384"/>
            <ac:spMk id="276" creationId="{FCEF8EA7-7FE5-4677-B67D-9D02929DED66}"/>
          </ac:spMkLst>
        </pc:spChg>
        <pc:spChg chg="del">
          <ac:chgData name="Atkar, Devyani Anil" userId="30060140-18fd-4dc5-aee4-f2420943b387" providerId="ADAL" clId="{DF9B0C05-CC4F-4882-87E9-3A37CA25A441}" dt="2021-10-29T06:46:38.433" v="226" actId="478"/>
          <ac:spMkLst>
            <pc:docMk/>
            <pc:sldMk cId="898778480" sldId="2146847384"/>
            <ac:spMk id="277" creationId="{B9BE65F8-991A-4D66-81BB-140C9DA5655B}"/>
          </ac:spMkLst>
        </pc:spChg>
        <pc:spChg chg="del">
          <ac:chgData name="Atkar, Devyani Anil" userId="30060140-18fd-4dc5-aee4-f2420943b387" providerId="ADAL" clId="{DF9B0C05-CC4F-4882-87E9-3A37CA25A441}" dt="2021-10-29T06:46:38.433" v="226" actId="478"/>
          <ac:spMkLst>
            <pc:docMk/>
            <pc:sldMk cId="898778480" sldId="2146847384"/>
            <ac:spMk id="278" creationId="{B8009ED1-4ABE-4414-8363-B2BAB20862EF}"/>
          </ac:spMkLst>
        </pc:spChg>
        <pc:spChg chg="del">
          <ac:chgData name="Atkar, Devyani Anil" userId="30060140-18fd-4dc5-aee4-f2420943b387" providerId="ADAL" clId="{DF9B0C05-CC4F-4882-87E9-3A37CA25A441}" dt="2021-10-29T06:46:38.433" v="226" actId="478"/>
          <ac:spMkLst>
            <pc:docMk/>
            <pc:sldMk cId="898778480" sldId="2146847384"/>
            <ac:spMk id="279" creationId="{6D82CD25-A17C-4401-BC15-AA4FFC7E2372}"/>
          </ac:spMkLst>
        </pc:spChg>
        <pc:spChg chg="del">
          <ac:chgData name="Atkar, Devyani Anil" userId="30060140-18fd-4dc5-aee4-f2420943b387" providerId="ADAL" clId="{DF9B0C05-CC4F-4882-87E9-3A37CA25A441}" dt="2021-10-29T06:46:38.433" v="226" actId="478"/>
          <ac:spMkLst>
            <pc:docMk/>
            <pc:sldMk cId="898778480" sldId="2146847384"/>
            <ac:spMk id="280" creationId="{651D258A-FB6B-41C8-AAE6-485B91DFD2D8}"/>
          </ac:spMkLst>
        </pc:spChg>
        <pc:spChg chg="del">
          <ac:chgData name="Atkar, Devyani Anil" userId="30060140-18fd-4dc5-aee4-f2420943b387" providerId="ADAL" clId="{DF9B0C05-CC4F-4882-87E9-3A37CA25A441}" dt="2021-10-29T06:46:38.433" v="226" actId="478"/>
          <ac:spMkLst>
            <pc:docMk/>
            <pc:sldMk cId="898778480" sldId="2146847384"/>
            <ac:spMk id="281" creationId="{28EC3413-2111-4775-9934-49473F502104}"/>
          </ac:spMkLst>
        </pc:spChg>
        <pc:spChg chg="del">
          <ac:chgData name="Atkar, Devyani Anil" userId="30060140-18fd-4dc5-aee4-f2420943b387" providerId="ADAL" clId="{DF9B0C05-CC4F-4882-87E9-3A37CA25A441}" dt="2021-10-29T06:46:26.239" v="223" actId="478"/>
          <ac:spMkLst>
            <pc:docMk/>
            <pc:sldMk cId="898778480" sldId="2146847384"/>
            <ac:spMk id="282" creationId="{99A48126-9976-470B-B089-F59183561B7D}"/>
          </ac:spMkLst>
        </pc:spChg>
        <pc:spChg chg="mod">
          <ac:chgData name="Atkar, Devyani Anil" userId="30060140-18fd-4dc5-aee4-f2420943b387" providerId="ADAL" clId="{DF9B0C05-CC4F-4882-87E9-3A37CA25A441}" dt="2021-10-29T06:47:33.407" v="234" actId="108"/>
          <ac:spMkLst>
            <pc:docMk/>
            <pc:sldMk cId="898778480" sldId="2146847384"/>
            <ac:spMk id="283" creationId="{D0C424FD-6529-41AD-AA69-A663B1662DBB}"/>
          </ac:spMkLst>
        </pc:spChg>
        <pc:spChg chg="mod">
          <ac:chgData name="Atkar, Devyani Anil" userId="30060140-18fd-4dc5-aee4-f2420943b387" providerId="ADAL" clId="{DF9B0C05-CC4F-4882-87E9-3A37CA25A441}" dt="2021-10-29T06:47:38.624" v="235" actId="207"/>
          <ac:spMkLst>
            <pc:docMk/>
            <pc:sldMk cId="898778480" sldId="2146847384"/>
            <ac:spMk id="284" creationId="{8545D3FB-966F-43CB-A873-B5CF8A94F6DC}"/>
          </ac:spMkLst>
        </pc:spChg>
        <pc:spChg chg="del">
          <ac:chgData name="Atkar, Devyani Anil" userId="30060140-18fd-4dc5-aee4-f2420943b387" providerId="ADAL" clId="{DF9B0C05-CC4F-4882-87E9-3A37CA25A441}" dt="2021-10-29T06:46:26.239" v="223" actId="478"/>
          <ac:spMkLst>
            <pc:docMk/>
            <pc:sldMk cId="898778480" sldId="2146847384"/>
            <ac:spMk id="286" creationId="{77BA0039-B0B4-4B7E-BA3D-DC6D33CAB86A}"/>
          </ac:spMkLst>
        </pc:spChg>
        <pc:spChg chg="del">
          <ac:chgData name="Atkar, Devyani Anil" userId="30060140-18fd-4dc5-aee4-f2420943b387" providerId="ADAL" clId="{DF9B0C05-CC4F-4882-87E9-3A37CA25A441}" dt="2021-10-29T06:46:34.667" v="225" actId="478"/>
          <ac:spMkLst>
            <pc:docMk/>
            <pc:sldMk cId="898778480" sldId="2146847384"/>
            <ac:spMk id="288" creationId="{F6CAAE50-CBD0-4BB0-AE25-35F4E383814D}"/>
          </ac:spMkLst>
        </pc:spChg>
        <pc:spChg chg="del">
          <ac:chgData name="Atkar, Devyani Anil" userId="30060140-18fd-4dc5-aee4-f2420943b387" providerId="ADAL" clId="{DF9B0C05-CC4F-4882-87E9-3A37CA25A441}" dt="2021-10-29T06:46:34.667" v="225" actId="478"/>
          <ac:spMkLst>
            <pc:docMk/>
            <pc:sldMk cId="898778480" sldId="2146847384"/>
            <ac:spMk id="289" creationId="{DA4D3A38-108B-4F57-A49B-08520686EAD4}"/>
          </ac:spMkLst>
        </pc:spChg>
        <pc:spChg chg="del">
          <ac:chgData name="Atkar, Devyani Anil" userId="30060140-18fd-4dc5-aee4-f2420943b387" providerId="ADAL" clId="{DF9B0C05-CC4F-4882-87E9-3A37CA25A441}" dt="2021-10-29T06:46:34.667" v="225" actId="478"/>
          <ac:spMkLst>
            <pc:docMk/>
            <pc:sldMk cId="898778480" sldId="2146847384"/>
            <ac:spMk id="290" creationId="{2E6A3D11-9108-4AC7-87DD-073DEA0F1900}"/>
          </ac:spMkLst>
        </pc:spChg>
        <pc:spChg chg="del">
          <ac:chgData name="Atkar, Devyani Anil" userId="30060140-18fd-4dc5-aee4-f2420943b387" providerId="ADAL" clId="{DF9B0C05-CC4F-4882-87E9-3A37CA25A441}" dt="2021-10-29T06:46:34.667" v="225" actId="478"/>
          <ac:spMkLst>
            <pc:docMk/>
            <pc:sldMk cId="898778480" sldId="2146847384"/>
            <ac:spMk id="291" creationId="{F2ADE1E6-5F04-4B3E-B301-FE76D1DA5286}"/>
          </ac:spMkLst>
        </pc:spChg>
        <pc:spChg chg="del">
          <ac:chgData name="Atkar, Devyani Anil" userId="30060140-18fd-4dc5-aee4-f2420943b387" providerId="ADAL" clId="{DF9B0C05-CC4F-4882-87E9-3A37CA25A441}" dt="2021-10-29T06:46:34.667" v="225" actId="478"/>
          <ac:spMkLst>
            <pc:docMk/>
            <pc:sldMk cId="898778480" sldId="2146847384"/>
            <ac:spMk id="292" creationId="{2D4A87ED-4F6A-4C5E-83FD-848855E13923}"/>
          </ac:spMkLst>
        </pc:spChg>
        <pc:spChg chg="del">
          <ac:chgData name="Atkar, Devyani Anil" userId="30060140-18fd-4dc5-aee4-f2420943b387" providerId="ADAL" clId="{DF9B0C05-CC4F-4882-87E9-3A37CA25A441}" dt="2021-10-29T06:46:34.667" v="225" actId="478"/>
          <ac:spMkLst>
            <pc:docMk/>
            <pc:sldMk cId="898778480" sldId="2146847384"/>
            <ac:spMk id="293" creationId="{9DA64EC9-226B-47C0-8A40-B4A99A82E9A8}"/>
          </ac:spMkLst>
        </pc:spChg>
        <pc:spChg chg="del">
          <ac:chgData name="Atkar, Devyani Anil" userId="30060140-18fd-4dc5-aee4-f2420943b387" providerId="ADAL" clId="{DF9B0C05-CC4F-4882-87E9-3A37CA25A441}" dt="2021-10-29T06:46:34.667" v="225" actId="478"/>
          <ac:spMkLst>
            <pc:docMk/>
            <pc:sldMk cId="898778480" sldId="2146847384"/>
            <ac:spMk id="294" creationId="{824954BE-1F22-47A5-AA3C-8BB6E3E99A6A}"/>
          </ac:spMkLst>
        </pc:spChg>
        <pc:spChg chg="del">
          <ac:chgData name="Atkar, Devyani Anil" userId="30060140-18fd-4dc5-aee4-f2420943b387" providerId="ADAL" clId="{DF9B0C05-CC4F-4882-87E9-3A37CA25A441}" dt="2021-10-29T06:46:34.667" v="225" actId="478"/>
          <ac:spMkLst>
            <pc:docMk/>
            <pc:sldMk cId="898778480" sldId="2146847384"/>
            <ac:spMk id="295" creationId="{40894A65-84BF-4B73-AB7D-428C21ACD9EC}"/>
          </ac:spMkLst>
        </pc:spChg>
        <pc:spChg chg="del">
          <ac:chgData name="Atkar, Devyani Anil" userId="30060140-18fd-4dc5-aee4-f2420943b387" providerId="ADAL" clId="{DF9B0C05-CC4F-4882-87E9-3A37CA25A441}" dt="2021-10-29T06:47:00.674" v="230" actId="478"/>
          <ac:spMkLst>
            <pc:docMk/>
            <pc:sldMk cId="898778480" sldId="2146847384"/>
            <ac:spMk id="296" creationId="{CBF7E0AC-1CDA-47DE-B261-52AEE3121CE0}"/>
          </ac:spMkLst>
        </pc:spChg>
        <pc:spChg chg="del">
          <ac:chgData name="Atkar, Devyani Anil" userId="30060140-18fd-4dc5-aee4-f2420943b387" providerId="ADAL" clId="{DF9B0C05-CC4F-4882-87E9-3A37CA25A441}" dt="2021-10-29T06:47:00.674" v="230" actId="478"/>
          <ac:spMkLst>
            <pc:docMk/>
            <pc:sldMk cId="898778480" sldId="2146847384"/>
            <ac:spMk id="297" creationId="{E8D3F18B-6433-4056-B738-F82D81B228E9}"/>
          </ac:spMkLst>
        </pc:spChg>
        <pc:spChg chg="del">
          <ac:chgData name="Atkar, Devyani Anil" userId="30060140-18fd-4dc5-aee4-f2420943b387" providerId="ADAL" clId="{DF9B0C05-CC4F-4882-87E9-3A37CA25A441}" dt="2021-10-29T06:47:00.674" v="230" actId="478"/>
          <ac:spMkLst>
            <pc:docMk/>
            <pc:sldMk cId="898778480" sldId="2146847384"/>
            <ac:spMk id="298" creationId="{B73ABF3B-412A-4798-A81C-B8E7242452D3}"/>
          </ac:spMkLst>
        </pc:spChg>
        <pc:spChg chg="del">
          <ac:chgData name="Atkar, Devyani Anil" userId="30060140-18fd-4dc5-aee4-f2420943b387" providerId="ADAL" clId="{DF9B0C05-CC4F-4882-87E9-3A37CA25A441}" dt="2021-10-29T06:47:00.674" v="230" actId="478"/>
          <ac:spMkLst>
            <pc:docMk/>
            <pc:sldMk cId="898778480" sldId="2146847384"/>
            <ac:spMk id="299" creationId="{F0475DC1-EF71-4723-92D8-E0175534357B}"/>
          </ac:spMkLst>
        </pc:spChg>
        <pc:spChg chg="del">
          <ac:chgData name="Atkar, Devyani Anil" userId="30060140-18fd-4dc5-aee4-f2420943b387" providerId="ADAL" clId="{DF9B0C05-CC4F-4882-87E9-3A37CA25A441}" dt="2021-10-29T06:46:34.667" v="225" actId="478"/>
          <ac:spMkLst>
            <pc:docMk/>
            <pc:sldMk cId="898778480" sldId="2146847384"/>
            <ac:spMk id="317" creationId="{54DAA748-42E5-41C2-AF1C-7F5F9053F920}"/>
          </ac:spMkLst>
        </pc:spChg>
        <pc:spChg chg="del">
          <ac:chgData name="Atkar, Devyani Anil" userId="30060140-18fd-4dc5-aee4-f2420943b387" providerId="ADAL" clId="{DF9B0C05-CC4F-4882-87E9-3A37CA25A441}" dt="2021-10-29T06:46:30.489" v="224" actId="478"/>
          <ac:spMkLst>
            <pc:docMk/>
            <pc:sldMk cId="898778480" sldId="2146847384"/>
            <ac:spMk id="318" creationId="{A8DAF0EB-732F-4EF7-A0E8-EE5BE412A5F2}"/>
          </ac:spMkLst>
        </pc:spChg>
        <pc:spChg chg="del">
          <ac:chgData name="Atkar, Devyani Anil" userId="30060140-18fd-4dc5-aee4-f2420943b387" providerId="ADAL" clId="{DF9B0C05-CC4F-4882-87E9-3A37CA25A441}" dt="2021-10-29T06:47:00.674" v="230" actId="478"/>
          <ac:spMkLst>
            <pc:docMk/>
            <pc:sldMk cId="898778480" sldId="2146847384"/>
            <ac:spMk id="350" creationId="{6E35A762-1F38-4589-A5B7-90CFCFD9BDF0}"/>
          </ac:spMkLst>
        </pc:spChg>
        <pc:spChg chg="del">
          <ac:chgData name="Atkar, Devyani Anil" userId="30060140-18fd-4dc5-aee4-f2420943b387" providerId="ADAL" clId="{DF9B0C05-CC4F-4882-87E9-3A37CA25A441}" dt="2021-10-29T06:47:00.674" v="230" actId="478"/>
          <ac:spMkLst>
            <pc:docMk/>
            <pc:sldMk cId="898778480" sldId="2146847384"/>
            <ac:spMk id="351" creationId="{0828070E-976A-4FD9-97FC-549785F1A2F5}"/>
          </ac:spMkLst>
        </pc:spChg>
        <pc:spChg chg="del">
          <ac:chgData name="Atkar, Devyani Anil" userId="30060140-18fd-4dc5-aee4-f2420943b387" providerId="ADAL" clId="{DF9B0C05-CC4F-4882-87E9-3A37CA25A441}" dt="2021-10-29T06:47:00.674" v="230" actId="478"/>
          <ac:spMkLst>
            <pc:docMk/>
            <pc:sldMk cId="898778480" sldId="2146847384"/>
            <ac:spMk id="352" creationId="{97CC0166-F046-425F-8291-E997556BF8AD}"/>
          </ac:spMkLst>
        </pc:spChg>
        <pc:spChg chg="del">
          <ac:chgData name="Atkar, Devyani Anil" userId="30060140-18fd-4dc5-aee4-f2420943b387" providerId="ADAL" clId="{DF9B0C05-CC4F-4882-87E9-3A37CA25A441}" dt="2021-10-29T06:47:00.674" v="230" actId="478"/>
          <ac:spMkLst>
            <pc:docMk/>
            <pc:sldMk cId="898778480" sldId="2146847384"/>
            <ac:spMk id="353" creationId="{5E0914AE-BF11-45D2-9C4B-D336495D1E47}"/>
          </ac:spMkLst>
        </pc:spChg>
        <pc:spChg chg="del">
          <ac:chgData name="Atkar, Devyani Anil" userId="30060140-18fd-4dc5-aee4-f2420943b387" providerId="ADAL" clId="{DF9B0C05-CC4F-4882-87E9-3A37CA25A441}" dt="2021-10-29T06:47:00.674" v="230" actId="478"/>
          <ac:spMkLst>
            <pc:docMk/>
            <pc:sldMk cId="898778480" sldId="2146847384"/>
            <ac:spMk id="354" creationId="{CED90EF2-1E53-4B49-A283-EA3988199392}"/>
          </ac:spMkLst>
        </pc:spChg>
        <pc:spChg chg="del">
          <ac:chgData name="Atkar, Devyani Anil" userId="30060140-18fd-4dc5-aee4-f2420943b387" providerId="ADAL" clId="{DF9B0C05-CC4F-4882-87E9-3A37CA25A441}" dt="2021-10-29T06:47:00.674" v="230" actId="478"/>
          <ac:spMkLst>
            <pc:docMk/>
            <pc:sldMk cId="898778480" sldId="2146847384"/>
            <ac:spMk id="355" creationId="{FDCE27AD-D64B-46D7-8D54-258E97F38B04}"/>
          </ac:spMkLst>
        </pc:spChg>
        <pc:spChg chg="del">
          <ac:chgData name="Atkar, Devyani Anil" userId="30060140-18fd-4dc5-aee4-f2420943b387" providerId="ADAL" clId="{DF9B0C05-CC4F-4882-87E9-3A37CA25A441}" dt="2021-10-29T06:47:00.674" v="230" actId="478"/>
          <ac:spMkLst>
            <pc:docMk/>
            <pc:sldMk cId="898778480" sldId="2146847384"/>
            <ac:spMk id="356" creationId="{020ED234-C109-4EB4-8F0E-C845A3888E60}"/>
          </ac:spMkLst>
        </pc:spChg>
        <pc:spChg chg="del">
          <ac:chgData name="Atkar, Devyani Anil" userId="30060140-18fd-4dc5-aee4-f2420943b387" providerId="ADAL" clId="{DF9B0C05-CC4F-4882-87E9-3A37CA25A441}" dt="2021-10-29T06:47:00.674" v="230" actId="478"/>
          <ac:spMkLst>
            <pc:docMk/>
            <pc:sldMk cId="898778480" sldId="2146847384"/>
            <ac:spMk id="357" creationId="{AF4983E8-9CD6-4D07-81B4-A5600B2F45B0}"/>
          </ac:spMkLst>
        </pc:spChg>
        <pc:spChg chg="del">
          <ac:chgData name="Atkar, Devyani Anil" userId="30060140-18fd-4dc5-aee4-f2420943b387" providerId="ADAL" clId="{DF9B0C05-CC4F-4882-87E9-3A37CA25A441}" dt="2021-10-29T06:47:00.674" v="230" actId="478"/>
          <ac:spMkLst>
            <pc:docMk/>
            <pc:sldMk cId="898778480" sldId="2146847384"/>
            <ac:spMk id="358" creationId="{C91FC61B-565C-4273-9155-7FBCE5E7BD10}"/>
          </ac:spMkLst>
        </pc:spChg>
        <pc:spChg chg="del">
          <ac:chgData name="Atkar, Devyani Anil" userId="30060140-18fd-4dc5-aee4-f2420943b387" providerId="ADAL" clId="{DF9B0C05-CC4F-4882-87E9-3A37CA25A441}" dt="2021-10-29T06:46:30.489" v="224" actId="478"/>
          <ac:spMkLst>
            <pc:docMk/>
            <pc:sldMk cId="898778480" sldId="2146847384"/>
            <ac:spMk id="359" creationId="{78F3EB1D-6522-4822-B707-C3A288789728}"/>
          </ac:spMkLst>
        </pc:spChg>
        <pc:spChg chg="del">
          <ac:chgData name="Atkar, Devyani Anil" userId="30060140-18fd-4dc5-aee4-f2420943b387" providerId="ADAL" clId="{DF9B0C05-CC4F-4882-87E9-3A37CA25A441}" dt="2021-10-29T06:47:00.674" v="230" actId="478"/>
          <ac:spMkLst>
            <pc:docMk/>
            <pc:sldMk cId="898778480" sldId="2146847384"/>
            <ac:spMk id="360" creationId="{F5826A12-54CB-4F0F-9A08-F3A538EB0F51}"/>
          </ac:spMkLst>
        </pc:spChg>
        <pc:spChg chg="del">
          <ac:chgData name="Atkar, Devyani Anil" userId="30060140-18fd-4dc5-aee4-f2420943b387" providerId="ADAL" clId="{DF9B0C05-CC4F-4882-87E9-3A37CA25A441}" dt="2021-10-29T06:47:00.674" v="230" actId="478"/>
          <ac:spMkLst>
            <pc:docMk/>
            <pc:sldMk cId="898778480" sldId="2146847384"/>
            <ac:spMk id="361" creationId="{D90EC5B3-6E99-46E3-BE9A-9C009D776310}"/>
          </ac:spMkLst>
        </pc:spChg>
        <pc:spChg chg="del">
          <ac:chgData name="Atkar, Devyani Anil" userId="30060140-18fd-4dc5-aee4-f2420943b387" providerId="ADAL" clId="{DF9B0C05-CC4F-4882-87E9-3A37CA25A441}" dt="2021-10-29T06:47:00.674" v="230" actId="478"/>
          <ac:spMkLst>
            <pc:docMk/>
            <pc:sldMk cId="898778480" sldId="2146847384"/>
            <ac:spMk id="365" creationId="{82CAC892-4AA0-4B72-A358-E80354C81D0E}"/>
          </ac:spMkLst>
        </pc:spChg>
        <pc:spChg chg="del">
          <ac:chgData name="Atkar, Devyani Anil" userId="30060140-18fd-4dc5-aee4-f2420943b387" providerId="ADAL" clId="{DF9B0C05-CC4F-4882-87E9-3A37CA25A441}" dt="2021-10-29T06:47:00.674" v="230" actId="478"/>
          <ac:spMkLst>
            <pc:docMk/>
            <pc:sldMk cId="898778480" sldId="2146847384"/>
            <ac:spMk id="366" creationId="{821F849B-4AB6-4E67-815C-AB2F6FB3C8D6}"/>
          </ac:spMkLst>
        </pc:spChg>
        <pc:spChg chg="del">
          <ac:chgData name="Atkar, Devyani Anil" userId="30060140-18fd-4dc5-aee4-f2420943b387" providerId="ADAL" clId="{DF9B0C05-CC4F-4882-87E9-3A37CA25A441}" dt="2021-10-29T06:47:00.674" v="230" actId="478"/>
          <ac:spMkLst>
            <pc:docMk/>
            <pc:sldMk cId="898778480" sldId="2146847384"/>
            <ac:spMk id="367" creationId="{E5BBD3AA-5681-423C-82D3-6DF146CB0CE9}"/>
          </ac:spMkLst>
        </pc:spChg>
        <pc:spChg chg="del">
          <ac:chgData name="Atkar, Devyani Anil" userId="30060140-18fd-4dc5-aee4-f2420943b387" providerId="ADAL" clId="{DF9B0C05-CC4F-4882-87E9-3A37CA25A441}" dt="2021-10-29T06:47:00.674" v="230" actId="478"/>
          <ac:spMkLst>
            <pc:docMk/>
            <pc:sldMk cId="898778480" sldId="2146847384"/>
            <ac:spMk id="368" creationId="{32A2B2BF-89FE-4306-A719-DA96F3F7882D}"/>
          </ac:spMkLst>
        </pc:spChg>
        <pc:spChg chg="del">
          <ac:chgData name="Atkar, Devyani Anil" userId="30060140-18fd-4dc5-aee4-f2420943b387" providerId="ADAL" clId="{DF9B0C05-CC4F-4882-87E9-3A37CA25A441}" dt="2021-10-29T06:47:00.674" v="230" actId="478"/>
          <ac:spMkLst>
            <pc:docMk/>
            <pc:sldMk cId="898778480" sldId="2146847384"/>
            <ac:spMk id="369" creationId="{2927EDEE-7B6E-4888-9333-8D34668E62C8}"/>
          </ac:spMkLst>
        </pc:spChg>
        <pc:spChg chg="del">
          <ac:chgData name="Atkar, Devyani Anil" userId="30060140-18fd-4dc5-aee4-f2420943b387" providerId="ADAL" clId="{DF9B0C05-CC4F-4882-87E9-3A37CA25A441}" dt="2021-10-29T06:46:30.489" v="224" actId="478"/>
          <ac:spMkLst>
            <pc:docMk/>
            <pc:sldMk cId="898778480" sldId="2146847384"/>
            <ac:spMk id="380" creationId="{56F1243F-6EDE-480B-8BA8-66008340DF18}"/>
          </ac:spMkLst>
        </pc:spChg>
        <pc:spChg chg="del">
          <ac:chgData name="Atkar, Devyani Anil" userId="30060140-18fd-4dc5-aee4-f2420943b387" providerId="ADAL" clId="{DF9B0C05-CC4F-4882-87E9-3A37CA25A441}" dt="2021-10-29T06:46:30.489" v="224" actId="478"/>
          <ac:spMkLst>
            <pc:docMk/>
            <pc:sldMk cId="898778480" sldId="2146847384"/>
            <ac:spMk id="381" creationId="{1EBBF2EC-323E-45C0-9A06-3DB0CFAFFCE9}"/>
          </ac:spMkLst>
        </pc:spChg>
        <pc:spChg chg="del">
          <ac:chgData name="Atkar, Devyani Anil" userId="30060140-18fd-4dc5-aee4-f2420943b387" providerId="ADAL" clId="{DF9B0C05-CC4F-4882-87E9-3A37CA25A441}" dt="2021-10-29T06:46:30.489" v="224" actId="478"/>
          <ac:spMkLst>
            <pc:docMk/>
            <pc:sldMk cId="898778480" sldId="2146847384"/>
            <ac:spMk id="382" creationId="{F653A7B4-EDC5-4687-9714-6496255F7943}"/>
          </ac:spMkLst>
        </pc:spChg>
        <pc:spChg chg="del">
          <ac:chgData name="Atkar, Devyani Anil" userId="30060140-18fd-4dc5-aee4-f2420943b387" providerId="ADAL" clId="{DF9B0C05-CC4F-4882-87E9-3A37CA25A441}" dt="2021-10-29T06:46:30.489" v="224" actId="478"/>
          <ac:spMkLst>
            <pc:docMk/>
            <pc:sldMk cId="898778480" sldId="2146847384"/>
            <ac:spMk id="383" creationId="{365098AC-39CF-4B57-BE94-286399A54C10}"/>
          </ac:spMkLst>
        </pc:spChg>
        <pc:spChg chg="del">
          <ac:chgData name="Atkar, Devyani Anil" userId="30060140-18fd-4dc5-aee4-f2420943b387" providerId="ADAL" clId="{DF9B0C05-CC4F-4882-87E9-3A37CA25A441}" dt="2021-10-29T06:46:30.489" v="224" actId="478"/>
          <ac:spMkLst>
            <pc:docMk/>
            <pc:sldMk cId="898778480" sldId="2146847384"/>
            <ac:spMk id="384" creationId="{C0A67BC3-4F63-4034-9532-411610D729C4}"/>
          </ac:spMkLst>
        </pc:spChg>
        <pc:spChg chg="del">
          <ac:chgData name="Atkar, Devyani Anil" userId="30060140-18fd-4dc5-aee4-f2420943b387" providerId="ADAL" clId="{DF9B0C05-CC4F-4882-87E9-3A37CA25A441}" dt="2021-10-29T06:46:38.433" v="226" actId="478"/>
          <ac:spMkLst>
            <pc:docMk/>
            <pc:sldMk cId="898778480" sldId="2146847384"/>
            <ac:spMk id="388" creationId="{7865EC0D-8770-4D96-A31A-E244D2886EFE}"/>
          </ac:spMkLst>
        </pc:spChg>
        <pc:spChg chg="del">
          <ac:chgData name="Atkar, Devyani Anil" userId="30060140-18fd-4dc5-aee4-f2420943b387" providerId="ADAL" clId="{DF9B0C05-CC4F-4882-87E9-3A37CA25A441}" dt="2021-10-29T06:47:00.674" v="230" actId="478"/>
          <ac:spMkLst>
            <pc:docMk/>
            <pc:sldMk cId="898778480" sldId="2146847384"/>
            <ac:spMk id="397" creationId="{4BA9FBEF-D80C-46F2-95E9-7D0CF3AE1CE6}"/>
          </ac:spMkLst>
        </pc:spChg>
        <pc:grpChg chg="del">
          <ac:chgData name="Atkar, Devyani Anil" userId="30060140-18fd-4dc5-aee4-f2420943b387" providerId="ADAL" clId="{DF9B0C05-CC4F-4882-87E9-3A37CA25A441}" dt="2021-10-29T06:46:26.239" v="223" actId="478"/>
          <ac:grpSpMkLst>
            <pc:docMk/>
            <pc:sldMk cId="898778480" sldId="2146847384"/>
            <ac:grpSpMk id="2" creationId="{34D374F3-8E60-4470-A7A4-02E51EF50300}"/>
          </ac:grpSpMkLst>
        </pc:grpChg>
        <pc:grpChg chg="del">
          <ac:chgData name="Atkar, Devyani Anil" userId="30060140-18fd-4dc5-aee4-f2420943b387" providerId="ADAL" clId="{DF9B0C05-CC4F-4882-87E9-3A37CA25A441}" dt="2021-10-29T06:46:26.239" v="223" actId="478"/>
          <ac:grpSpMkLst>
            <pc:docMk/>
            <pc:sldMk cId="898778480" sldId="2146847384"/>
            <ac:grpSpMk id="3" creationId="{CA7B3BDE-7DD9-4AE6-B9EF-0AD52004D406}"/>
          </ac:grpSpMkLst>
        </pc:grpChg>
        <pc:grpChg chg="del">
          <ac:chgData name="Atkar, Devyani Anil" userId="30060140-18fd-4dc5-aee4-f2420943b387" providerId="ADAL" clId="{DF9B0C05-CC4F-4882-87E9-3A37CA25A441}" dt="2021-10-29T06:46:51.030" v="228" actId="165"/>
          <ac:grpSpMkLst>
            <pc:docMk/>
            <pc:sldMk cId="898778480" sldId="2146847384"/>
            <ac:grpSpMk id="10" creationId="{34B32DB0-B24D-4974-869D-4FC1B0875AD2}"/>
          </ac:grpSpMkLst>
        </pc:grpChg>
        <pc:graphicFrameChg chg="add mod modGraphic">
          <ac:chgData name="Atkar, Devyani Anil" userId="30060140-18fd-4dc5-aee4-f2420943b387" providerId="ADAL" clId="{DF9B0C05-CC4F-4882-87E9-3A37CA25A441}" dt="2021-10-29T09:15:12.811" v="391" actId="1076"/>
          <ac:graphicFrameMkLst>
            <pc:docMk/>
            <pc:sldMk cId="898778480" sldId="2146847384"/>
            <ac:graphicFrameMk id="153" creationId="{1A99694C-95EA-4704-A555-136B2D5CCECF}"/>
          </ac:graphicFrameMkLst>
        </pc:graphicFrameChg>
        <pc:graphicFrameChg chg="add del mod modGraphic">
          <ac:chgData name="Atkar, Devyani Anil" userId="30060140-18fd-4dc5-aee4-f2420943b387" providerId="ADAL" clId="{DF9B0C05-CC4F-4882-87E9-3A37CA25A441}" dt="2021-10-29T09:15:09.861" v="390" actId="478"/>
          <ac:graphicFrameMkLst>
            <pc:docMk/>
            <pc:sldMk cId="898778480" sldId="2146847384"/>
            <ac:graphicFrameMk id="193" creationId="{4F20F801-860F-40A2-A3CE-F499C5C645E1}"/>
          </ac:graphicFrameMkLst>
        </pc:graphicFrameChg>
        <pc:graphicFrameChg chg="add mod">
          <ac:chgData name="Atkar, Devyani Anil" userId="30060140-18fd-4dc5-aee4-f2420943b387" providerId="ADAL" clId="{DF9B0C05-CC4F-4882-87E9-3A37CA25A441}" dt="2021-10-29T09:15:19.788" v="393" actId="1076"/>
          <ac:graphicFrameMkLst>
            <pc:docMk/>
            <pc:sldMk cId="898778480" sldId="2146847384"/>
            <ac:graphicFrameMk id="230" creationId="{2493ED3A-4FEA-44A3-8035-2AFBF6FFBA68}"/>
          </ac:graphicFrameMkLst>
        </pc:graphicFrameChg>
        <pc:graphicFrameChg chg="add del mod modGraphic">
          <ac:chgData name="Atkar, Devyani Anil" userId="30060140-18fd-4dc5-aee4-f2420943b387" providerId="ADAL" clId="{DF9B0C05-CC4F-4882-87E9-3A37CA25A441}" dt="2021-10-29T09:16:21.733" v="397" actId="478"/>
          <ac:graphicFrameMkLst>
            <pc:docMk/>
            <pc:sldMk cId="898778480" sldId="2146847384"/>
            <ac:graphicFrameMk id="231" creationId="{D3ADEE3D-18B3-4FBC-9E14-F83169D25FDD}"/>
          </ac:graphicFrameMkLst>
        </pc:graphicFrameChg>
        <pc:graphicFrameChg chg="add mod">
          <ac:chgData name="Atkar, Devyani Anil" userId="30060140-18fd-4dc5-aee4-f2420943b387" providerId="ADAL" clId="{DF9B0C05-CC4F-4882-87E9-3A37CA25A441}" dt="2021-10-29T09:16:29.964" v="399" actId="1076"/>
          <ac:graphicFrameMkLst>
            <pc:docMk/>
            <pc:sldMk cId="898778480" sldId="2146847384"/>
            <ac:graphicFrameMk id="310" creationId="{33645130-C956-454E-8774-198CBE5A7E8A}"/>
          </ac:graphicFrameMkLst>
        </pc:graphicFrameChg>
        <pc:picChg chg="add mod">
          <ac:chgData name="Atkar, Devyani Anil" userId="30060140-18fd-4dc5-aee4-f2420943b387" providerId="ADAL" clId="{DF9B0C05-CC4F-4882-87E9-3A37CA25A441}" dt="2021-10-29T09:10:13.003" v="287" actId="1076"/>
          <ac:picMkLst>
            <pc:docMk/>
            <pc:sldMk cId="898778480" sldId="2146847384"/>
            <ac:picMk id="154" creationId="{5AB7E2FE-65E4-4E40-9A03-D3C137465261}"/>
          </ac:picMkLst>
        </pc:picChg>
        <pc:picChg chg="add mod">
          <ac:chgData name="Atkar, Devyani Anil" userId="30060140-18fd-4dc5-aee4-f2420943b387" providerId="ADAL" clId="{DF9B0C05-CC4F-4882-87E9-3A37CA25A441}" dt="2021-10-29T09:10:13.003" v="287" actId="1076"/>
          <ac:picMkLst>
            <pc:docMk/>
            <pc:sldMk cId="898778480" sldId="2146847384"/>
            <ac:picMk id="165" creationId="{E2F50A85-F6E3-4E6B-A9D4-DD25B16AA40F}"/>
          </ac:picMkLst>
        </pc:picChg>
        <pc:picChg chg="add mod">
          <ac:chgData name="Atkar, Devyani Anil" userId="30060140-18fd-4dc5-aee4-f2420943b387" providerId="ADAL" clId="{DF9B0C05-CC4F-4882-87E9-3A37CA25A441}" dt="2021-10-29T09:10:13.003" v="287" actId="1076"/>
          <ac:picMkLst>
            <pc:docMk/>
            <pc:sldMk cId="898778480" sldId="2146847384"/>
            <ac:picMk id="166" creationId="{7572EC29-C125-49BA-84F7-C10E80B2D6FB}"/>
          </ac:picMkLst>
        </pc:picChg>
        <pc:picChg chg="add mod">
          <ac:chgData name="Atkar, Devyani Anil" userId="30060140-18fd-4dc5-aee4-f2420943b387" providerId="ADAL" clId="{DF9B0C05-CC4F-4882-87E9-3A37CA25A441}" dt="2021-10-29T09:10:13.003" v="287" actId="1076"/>
          <ac:picMkLst>
            <pc:docMk/>
            <pc:sldMk cId="898778480" sldId="2146847384"/>
            <ac:picMk id="167" creationId="{13E4A922-5DA4-433E-B925-DCDBA3B846DC}"/>
          </ac:picMkLst>
        </pc:picChg>
        <pc:picChg chg="add mod">
          <ac:chgData name="Atkar, Devyani Anil" userId="30060140-18fd-4dc5-aee4-f2420943b387" providerId="ADAL" clId="{DF9B0C05-CC4F-4882-87E9-3A37CA25A441}" dt="2021-10-29T09:10:13.003" v="287" actId="1076"/>
          <ac:picMkLst>
            <pc:docMk/>
            <pc:sldMk cId="898778480" sldId="2146847384"/>
            <ac:picMk id="168" creationId="{D250E331-5823-4ACF-B11D-0743CF8C5111}"/>
          </ac:picMkLst>
        </pc:picChg>
        <pc:picChg chg="add mod">
          <ac:chgData name="Atkar, Devyani Anil" userId="30060140-18fd-4dc5-aee4-f2420943b387" providerId="ADAL" clId="{DF9B0C05-CC4F-4882-87E9-3A37CA25A441}" dt="2021-10-29T09:10:13.003" v="287" actId="1076"/>
          <ac:picMkLst>
            <pc:docMk/>
            <pc:sldMk cId="898778480" sldId="2146847384"/>
            <ac:picMk id="171" creationId="{926D6B5D-1E65-4745-BDA4-786C9C5B20E4}"/>
          </ac:picMkLst>
        </pc:picChg>
        <pc:picChg chg="add mod">
          <ac:chgData name="Atkar, Devyani Anil" userId="30060140-18fd-4dc5-aee4-f2420943b387" providerId="ADAL" clId="{DF9B0C05-CC4F-4882-87E9-3A37CA25A441}" dt="2021-10-29T09:10:13.003" v="287" actId="1076"/>
          <ac:picMkLst>
            <pc:docMk/>
            <pc:sldMk cId="898778480" sldId="2146847384"/>
            <ac:picMk id="180" creationId="{A2FA2F3D-DE46-4A54-A828-5A7FEA817524}"/>
          </ac:picMkLst>
        </pc:picChg>
        <pc:picChg chg="add mod">
          <ac:chgData name="Atkar, Devyani Anil" userId="30060140-18fd-4dc5-aee4-f2420943b387" providerId="ADAL" clId="{DF9B0C05-CC4F-4882-87E9-3A37CA25A441}" dt="2021-10-29T09:10:13.003" v="287" actId="1076"/>
          <ac:picMkLst>
            <pc:docMk/>
            <pc:sldMk cId="898778480" sldId="2146847384"/>
            <ac:picMk id="184" creationId="{FDBE0133-F0EE-48A5-8A81-B51FB336E165}"/>
          </ac:picMkLst>
        </pc:picChg>
        <pc:picChg chg="add mod">
          <ac:chgData name="Atkar, Devyani Anil" userId="30060140-18fd-4dc5-aee4-f2420943b387" providerId="ADAL" clId="{DF9B0C05-CC4F-4882-87E9-3A37CA25A441}" dt="2021-10-29T09:10:13.003" v="287" actId="1076"/>
          <ac:picMkLst>
            <pc:docMk/>
            <pc:sldMk cId="898778480" sldId="2146847384"/>
            <ac:picMk id="185" creationId="{76E55731-AE69-4879-B8C8-7E298ACD3495}"/>
          </ac:picMkLst>
        </pc:picChg>
        <pc:picChg chg="add mod">
          <ac:chgData name="Atkar, Devyani Anil" userId="30060140-18fd-4dc5-aee4-f2420943b387" providerId="ADAL" clId="{DF9B0C05-CC4F-4882-87E9-3A37CA25A441}" dt="2021-10-29T09:10:13.003" v="287" actId="1076"/>
          <ac:picMkLst>
            <pc:docMk/>
            <pc:sldMk cId="898778480" sldId="2146847384"/>
            <ac:picMk id="186" creationId="{E5956A4A-F346-4C17-9CB5-078A3967B0D8}"/>
          </ac:picMkLst>
        </pc:picChg>
        <pc:picChg chg="add mod">
          <ac:chgData name="Atkar, Devyani Anil" userId="30060140-18fd-4dc5-aee4-f2420943b387" providerId="ADAL" clId="{DF9B0C05-CC4F-4882-87E9-3A37CA25A441}" dt="2021-10-29T09:10:13.003" v="287" actId="1076"/>
          <ac:picMkLst>
            <pc:docMk/>
            <pc:sldMk cId="898778480" sldId="2146847384"/>
            <ac:picMk id="187" creationId="{8F774576-147A-4C5B-B330-37F2D4CEC659}"/>
          </ac:picMkLst>
        </pc:picChg>
        <pc:picChg chg="add mod">
          <ac:chgData name="Atkar, Devyani Anil" userId="30060140-18fd-4dc5-aee4-f2420943b387" providerId="ADAL" clId="{DF9B0C05-CC4F-4882-87E9-3A37CA25A441}" dt="2021-10-29T09:13:47.597" v="388" actId="1076"/>
          <ac:picMkLst>
            <pc:docMk/>
            <pc:sldMk cId="898778480" sldId="2146847384"/>
            <ac:picMk id="196" creationId="{D298542C-25B0-4D47-B3E2-1A26C105D693}"/>
          </ac:picMkLst>
        </pc:picChg>
        <pc:picChg chg="add mod">
          <ac:chgData name="Atkar, Devyani Anil" userId="30060140-18fd-4dc5-aee4-f2420943b387" providerId="ADAL" clId="{DF9B0C05-CC4F-4882-87E9-3A37CA25A441}" dt="2021-10-29T09:13:47.597" v="388" actId="1076"/>
          <ac:picMkLst>
            <pc:docMk/>
            <pc:sldMk cId="898778480" sldId="2146847384"/>
            <ac:picMk id="198" creationId="{777DDB14-2385-43FA-9740-FCCEBA70FA28}"/>
          </ac:picMkLst>
        </pc:picChg>
        <pc:picChg chg="add mod">
          <ac:chgData name="Atkar, Devyani Anil" userId="30060140-18fd-4dc5-aee4-f2420943b387" providerId="ADAL" clId="{DF9B0C05-CC4F-4882-87E9-3A37CA25A441}" dt="2021-10-29T09:13:47.597" v="388" actId="1076"/>
          <ac:picMkLst>
            <pc:docMk/>
            <pc:sldMk cId="898778480" sldId="2146847384"/>
            <ac:picMk id="199" creationId="{824D10C0-09FE-4C88-8665-611D4318DB55}"/>
          </ac:picMkLst>
        </pc:picChg>
        <pc:picChg chg="add mod">
          <ac:chgData name="Atkar, Devyani Anil" userId="30060140-18fd-4dc5-aee4-f2420943b387" providerId="ADAL" clId="{DF9B0C05-CC4F-4882-87E9-3A37CA25A441}" dt="2021-10-29T09:13:47.597" v="388" actId="1076"/>
          <ac:picMkLst>
            <pc:docMk/>
            <pc:sldMk cId="898778480" sldId="2146847384"/>
            <ac:picMk id="201" creationId="{1AC91A52-C2BF-4D10-8B39-36A765B3C7C6}"/>
          </ac:picMkLst>
        </pc:picChg>
        <pc:picChg chg="add mod">
          <ac:chgData name="Atkar, Devyani Anil" userId="30060140-18fd-4dc5-aee4-f2420943b387" providerId="ADAL" clId="{DF9B0C05-CC4F-4882-87E9-3A37CA25A441}" dt="2021-10-29T09:13:47.597" v="388" actId="1076"/>
          <ac:picMkLst>
            <pc:docMk/>
            <pc:sldMk cId="898778480" sldId="2146847384"/>
            <ac:picMk id="203" creationId="{4536C22D-B946-4DE0-8F46-954A0A4B8645}"/>
          </ac:picMkLst>
        </pc:picChg>
        <pc:picChg chg="add mod">
          <ac:chgData name="Atkar, Devyani Anil" userId="30060140-18fd-4dc5-aee4-f2420943b387" providerId="ADAL" clId="{DF9B0C05-CC4F-4882-87E9-3A37CA25A441}" dt="2021-10-29T09:13:47.597" v="388" actId="1076"/>
          <ac:picMkLst>
            <pc:docMk/>
            <pc:sldMk cId="898778480" sldId="2146847384"/>
            <ac:picMk id="204" creationId="{EDCACDC0-0002-46DF-BDFE-A5E862BE14D7}"/>
          </ac:picMkLst>
        </pc:picChg>
        <pc:picChg chg="add mod">
          <ac:chgData name="Atkar, Devyani Anil" userId="30060140-18fd-4dc5-aee4-f2420943b387" providerId="ADAL" clId="{DF9B0C05-CC4F-4882-87E9-3A37CA25A441}" dt="2021-10-29T09:13:47.597" v="388" actId="1076"/>
          <ac:picMkLst>
            <pc:docMk/>
            <pc:sldMk cId="898778480" sldId="2146847384"/>
            <ac:picMk id="205" creationId="{B467F167-3D54-4CE8-BBD1-30A26714A928}"/>
          </ac:picMkLst>
        </pc:picChg>
        <pc:picChg chg="add mod">
          <ac:chgData name="Atkar, Devyani Anil" userId="30060140-18fd-4dc5-aee4-f2420943b387" providerId="ADAL" clId="{DF9B0C05-CC4F-4882-87E9-3A37CA25A441}" dt="2021-10-29T09:13:47.597" v="388" actId="1076"/>
          <ac:picMkLst>
            <pc:docMk/>
            <pc:sldMk cId="898778480" sldId="2146847384"/>
            <ac:picMk id="207" creationId="{6350FE1C-761C-457D-9FBC-0775D1931595}"/>
          </ac:picMkLst>
        </pc:picChg>
        <pc:picChg chg="add mod">
          <ac:chgData name="Atkar, Devyani Anil" userId="30060140-18fd-4dc5-aee4-f2420943b387" providerId="ADAL" clId="{DF9B0C05-CC4F-4882-87E9-3A37CA25A441}" dt="2021-10-29T09:13:47.597" v="388" actId="1076"/>
          <ac:picMkLst>
            <pc:docMk/>
            <pc:sldMk cId="898778480" sldId="2146847384"/>
            <ac:picMk id="209" creationId="{57AA6120-6093-40B1-AE8E-B64DD9E63FF4}"/>
          </ac:picMkLst>
        </pc:picChg>
        <pc:picChg chg="add mod">
          <ac:chgData name="Atkar, Devyani Anil" userId="30060140-18fd-4dc5-aee4-f2420943b387" providerId="ADAL" clId="{DF9B0C05-CC4F-4882-87E9-3A37CA25A441}" dt="2021-10-29T09:13:47.597" v="388" actId="1076"/>
          <ac:picMkLst>
            <pc:docMk/>
            <pc:sldMk cId="898778480" sldId="2146847384"/>
            <ac:picMk id="210" creationId="{C8F64395-0675-4D86-9780-DCBE076DDBCA}"/>
          </ac:picMkLst>
        </pc:picChg>
        <pc:picChg chg="add mod">
          <ac:chgData name="Atkar, Devyani Anil" userId="30060140-18fd-4dc5-aee4-f2420943b387" providerId="ADAL" clId="{DF9B0C05-CC4F-4882-87E9-3A37CA25A441}" dt="2021-10-29T09:13:47.597" v="388" actId="1076"/>
          <ac:picMkLst>
            <pc:docMk/>
            <pc:sldMk cId="898778480" sldId="2146847384"/>
            <ac:picMk id="211" creationId="{DF21D896-1506-47DD-AC9F-7463D2130BA3}"/>
          </ac:picMkLst>
        </pc:picChg>
        <pc:picChg chg="add mod">
          <ac:chgData name="Atkar, Devyani Anil" userId="30060140-18fd-4dc5-aee4-f2420943b387" providerId="ADAL" clId="{DF9B0C05-CC4F-4882-87E9-3A37CA25A441}" dt="2021-10-29T09:16:15.954" v="395" actId="1076"/>
          <ac:picMkLst>
            <pc:docMk/>
            <pc:sldMk cId="898778480" sldId="2146847384"/>
            <ac:picMk id="287" creationId="{063B0153-58D2-4553-8D89-4B7F3ACBB580}"/>
          </ac:picMkLst>
        </pc:picChg>
        <pc:picChg chg="add mod">
          <ac:chgData name="Atkar, Devyani Anil" userId="30060140-18fd-4dc5-aee4-f2420943b387" providerId="ADAL" clId="{DF9B0C05-CC4F-4882-87E9-3A37CA25A441}" dt="2021-10-29T09:16:15.954" v="395" actId="1076"/>
          <ac:picMkLst>
            <pc:docMk/>
            <pc:sldMk cId="898778480" sldId="2146847384"/>
            <ac:picMk id="300" creationId="{754ADC08-AD5A-415B-AE18-94F7E91136C2}"/>
          </ac:picMkLst>
        </pc:picChg>
        <pc:picChg chg="add mod">
          <ac:chgData name="Atkar, Devyani Anil" userId="30060140-18fd-4dc5-aee4-f2420943b387" providerId="ADAL" clId="{DF9B0C05-CC4F-4882-87E9-3A37CA25A441}" dt="2021-10-29T09:16:15.954" v="395" actId="1076"/>
          <ac:picMkLst>
            <pc:docMk/>
            <pc:sldMk cId="898778480" sldId="2146847384"/>
            <ac:picMk id="301" creationId="{D8B67A6C-50C3-44AE-BC10-A1D1353DA2F2}"/>
          </ac:picMkLst>
        </pc:picChg>
        <pc:picChg chg="add mod">
          <ac:chgData name="Atkar, Devyani Anil" userId="30060140-18fd-4dc5-aee4-f2420943b387" providerId="ADAL" clId="{DF9B0C05-CC4F-4882-87E9-3A37CA25A441}" dt="2021-10-29T09:16:15.954" v="395" actId="1076"/>
          <ac:picMkLst>
            <pc:docMk/>
            <pc:sldMk cId="898778480" sldId="2146847384"/>
            <ac:picMk id="302" creationId="{27C99BE6-592A-471D-AF2B-3004501DB6CE}"/>
          </ac:picMkLst>
        </pc:picChg>
        <pc:picChg chg="add mod">
          <ac:chgData name="Atkar, Devyani Anil" userId="30060140-18fd-4dc5-aee4-f2420943b387" providerId="ADAL" clId="{DF9B0C05-CC4F-4882-87E9-3A37CA25A441}" dt="2021-10-29T09:16:15.954" v="395" actId="1076"/>
          <ac:picMkLst>
            <pc:docMk/>
            <pc:sldMk cId="898778480" sldId="2146847384"/>
            <ac:picMk id="303" creationId="{1CC9865A-CFA2-488A-8B20-DC1F68F7C33D}"/>
          </ac:picMkLst>
        </pc:picChg>
        <pc:picChg chg="add mod">
          <ac:chgData name="Atkar, Devyani Anil" userId="30060140-18fd-4dc5-aee4-f2420943b387" providerId="ADAL" clId="{DF9B0C05-CC4F-4882-87E9-3A37CA25A441}" dt="2021-10-29T09:16:15.954" v="395" actId="1076"/>
          <ac:picMkLst>
            <pc:docMk/>
            <pc:sldMk cId="898778480" sldId="2146847384"/>
            <ac:picMk id="304" creationId="{C3B36443-8260-4D89-8248-745CC3185CF9}"/>
          </ac:picMkLst>
        </pc:picChg>
        <pc:picChg chg="add mod">
          <ac:chgData name="Atkar, Devyani Anil" userId="30060140-18fd-4dc5-aee4-f2420943b387" providerId="ADAL" clId="{DF9B0C05-CC4F-4882-87E9-3A37CA25A441}" dt="2021-10-29T09:16:15.954" v="395" actId="1076"/>
          <ac:picMkLst>
            <pc:docMk/>
            <pc:sldMk cId="898778480" sldId="2146847384"/>
            <ac:picMk id="305" creationId="{9B0B360E-6701-4394-B52A-2FF609598E70}"/>
          </ac:picMkLst>
        </pc:picChg>
        <pc:picChg chg="add mod">
          <ac:chgData name="Atkar, Devyani Anil" userId="30060140-18fd-4dc5-aee4-f2420943b387" providerId="ADAL" clId="{DF9B0C05-CC4F-4882-87E9-3A37CA25A441}" dt="2021-10-29T09:16:15.954" v="395" actId="1076"/>
          <ac:picMkLst>
            <pc:docMk/>
            <pc:sldMk cId="898778480" sldId="2146847384"/>
            <ac:picMk id="306" creationId="{26354125-52DC-42A3-9E33-70974438BAC4}"/>
          </ac:picMkLst>
        </pc:picChg>
        <pc:picChg chg="add mod">
          <ac:chgData name="Atkar, Devyani Anil" userId="30060140-18fd-4dc5-aee4-f2420943b387" providerId="ADAL" clId="{DF9B0C05-CC4F-4882-87E9-3A37CA25A441}" dt="2021-10-29T09:16:15.954" v="395" actId="1076"/>
          <ac:picMkLst>
            <pc:docMk/>
            <pc:sldMk cId="898778480" sldId="2146847384"/>
            <ac:picMk id="307" creationId="{E79DCA41-98A1-49F5-AAE0-72DD95303CEB}"/>
          </ac:picMkLst>
        </pc:picChg>
        <pc:picChg chg="add mod">
          <ac:chgData name="Atkar, Devyani Anil" userId="30060140-18fd-4dc5-aee4-f2420943b387" providerId="ADAL" clId="{DF9B0C05-CC4F-4882-87E9-3A37CA25A441}" dt="2021-10-29T09:16:15.954" v="395" actId="1076"/>
          <ac:picMkLst>
            <pc:docMk/>
            <pc:sldMk cId="898778480" sldId="2146847384"/>
            <ac:picMk id="308" creationId="{F9E1F5F2-3079-4210-A3D8-26C9DF626653}"/>
          </ac:picMkLst>
        </pc:picChg>
        <pc:picChg chg="add mod">
          <ac:chgData name="Atkar, Devyani Anil" userId="30060140-18fd-4dc5-aee4-f2420943b387" providerId="ADAL" clId="{DF9B0C05-CC4F-4882-87E9-3A37CA25A441}" dt="2021-10-29T09:16:15.954" v="395" actId="1076"/>
          <ac:picMkLst>
            <pc:docMk/>
            <pc:sldMk cId="898778480" sldId="2146847384"/>
            <ac:picMk id="309" creationId="{5212522A-8FA6-4CCA-8B18-698D914CD3F4}"/>
          </ac:picMkLst>
        </pc:picChg>
      </pc:sldChg>
      <pc:sldChg chg="del">
        <pc:chgData name="Atkar, Devyani Anil" userId="30060140-18fd-4dc5-aee4-f2420943b387" providerId="ADAL" clId="{DF9B0C05-CC4F-4882-87E9-3A37CA25A441}" dt="2021-10-29T09:44:56.740" v="857" actId="47"/>
        <pc:sldMkLst>
          <pc:docMk/>
          <pc:sldMk cId="358794597" sldId="2146847385"/>
        </pc:sldMkLst>
      </pc:sldChg>
      <pc:sldChg chg="addSp delSp modSp mod addCm delCm">
        <pc:chgData name="Atkar, Devyani Anil" userId="30060140-18fd-4dc5-aee4-f2420943b387" providerId="ADAL" clId="{DF9B0C05-CC4F-4882-87E9-3A37CA25A441}" dt="2021-11-08T17:04:41.910" v="1158" actId="33524"/>
        <pc:sldMkLst>
          <pc:docMk/>
          <pc:sldMk cId="396023652" sldId="2146847386"/>
        </pc:sldMkLst>
        <pc:spChg chg="mod topLvl">
          <ac:chgData name="Atkar, Devyani Anil" userId="30060140-18fd-4dc5-aee4-f2420943b387" providerId="ADAL" clId="{DF9B0C05-CC4F-4882-87E9-3A37CA25A441}" dt="2021-10-29T09:45:35.540" v="883" actId="1037"/>
          <ac:spMkLst>
            <pc:docMk/>
            <pc:sldMk cId="396023652" sldId="2146847386"/>
            <ac:spMk id="4" creationId="{2E0A5F5B-080D-4865-9ACB-407F79174F6C}"/>
          </ac:spMkLst>
        </pc:spChg>
        <pc:spChg chg="del">
          <ac:chgData name="Atkar, Devyani Anil" userId="30060140-18fd-4dc5-aee4-f2420943b387" providerId="ADAL" clId="{DF9B0C05-CC4F-4882-87E9-3A37CA25A441}" dt="2021-10-29T09:22:47.491" v="400" actId="478"/>
          <ac:spMkLst>
            <pc:docMk/>
            <pc:sldMk cId="396023652" sldId="2146847386"/>
            <ac:spMk id="5" creationId="{9C954DB8-2CD1-498C-8172-2AE2B687297C}"/>
          </ac:spMkLst>
        </pc:spChg>
        <pc:spChg chg="add mod">
          <ac:chgData name="Atkar, Devyani Anil" userId="30060140-18fd-4dc5-aee4-f2420943b387" providerId="ADAL" clId="{DF9B0C05-CC4F-4882-87E9-3A37CA25A441}" dt="2021-11-08T17:04:41.910" v="1158" actId="33524"/>
          <ac:spMkLst>
            <pc:docMk/>
            <pc:sldMk cId="396023652" sldId="2146847386"/>
            <ac:spMk id="16" creationId="{8C48474D-7B09-4612-856F-745AA9A28853}"/>
          </ac:spMkLst>
        </pc:spChg>
        <pc:spChg chg="add mod ord">
          <ac:chgData name="Atkar, Devyani Anil" userId="30060140-18fd-4dc5-aee4-f2420943b387" providerId="ADAL" clId="{DF9B0C05-CC4F-4882-87E9-3A37CA25A441}" dt="2021-10-29T09:45:35.540" v="883" actId="1037"/>
          <ac:spMkLst>
            <pc:docMk/>
            <pc:sldMk cId="396023652" sldId="2146847386"/>
            <ac:spMk id="57" creationId="{5482DE20-1240-466F-8B67-11C5734FDD5E}"/>
          </ac:spMkLst>
        </pc:spChg>
        <pc:spChg chg="add mod">
          <ac:chgData name="Atkar, Devyani Anil" userId="30060140-18fd-4dc5-aee4-f2420943b387" providerId="ADAL" clId="{DF9B0C05-CC4F-4882-87E9-3A37CA25A441}" dt="2021-10-29T09:44:52.394" v="856"/>
          <ac:spMkLst>
            <pc:docMk/>
            <pc:sldMk cId="396023652" sldId="2146847386"/>
            <ac:spMk id="112" creationId="{2CD1918E-1AD4-4FA4-BCE9-153E0092CB3B}"/>
          </ac:spMkLst>
        </pc:spChg>
        <pc:spChg chg="mod topLvl">
          <ac:chgData name="Atkar, Devyani Anil" userId="30060140-18fd-4dc5-aee4-f2420943b387" providerId="ADAL" clId="{DF9B0C05-CC4F-4882-87E9-3A37CA25A441}" dt="2021-10-29T09:47:11.507" v="983" actId="1076"/>
          <ac:spMkLst>
            <pc:docMk/>
            <pc:sldMk cId="396023652" sldId="2146847386"/>
            <ac:spMk id="136" creationId="{2D3AA2DE-029D-4527-AFCB-C871C594222F}"/>
          </ac:spMkLst>
        </pc:spChg>
        <pc:spChg chg="mod topLvl">
          <ac:chgData name="Atkar, Devyani Anil" userId="30060140-18fd-4dc5-aee4-f2420943b387" providerId="ADAL" clId="{DF9B0C05-CC4F-4882-87E9-3A37CA25A441}" dt="2021-10-29T09:45:35.540" v="883" actId="1037"/>
          <ac:spMkLst>
            <pc:docMk/>
            <pc:sldMk cId="396023652" sldId="2146847386"/>
            <ac:spMk id="156" creationId="{2E5D5532-EC2A-45E8-83B7-B35F9E21B751}"/>
          </ac:spMkLst>
        </pc:spChg>
        <pc:spChg chg="mod topLvl">
          <ac:chgData name="Atkar, Devyani Anil" userId="30060140-18fd-4dc5-aee4-f2420943b387" providerId="ADAL" clId="{DF9B0C05-CC4F-4882-87E9-3A37CA25A441}" dt="2021-10-29T09:45:35.540" v="883" actId="1037"/>
          <ac:spMkLst>
            <pc:docMk/>
            <pc:sldMk cId="396023652" sldId="2146847386"/>
            <ac:spMk id="172" creationId="{6C0A5420-01E8-45C7-B251-FDBA7C45CD40}"/>
          </ac:spMkLst>
        </pc:spChg>
        <pc:spChg chg="mod topLvl">
          <ac:chgData name="Atkar, Devyani Anil" userId="30060140-18fd-4dc5-aee4-f2420943b387" providerId="ADAL" clId="{DF9B0C05-CC4F-4882-87E9-3A37CA25A441}" dt="2021-10-29T09:45:35.540" v="883" actId="1037"/>
          <ac:spMkLst>
            <pc:docMk/>
            <pc:sldMk cId="396023652" sldId="2146847386"/>
            <ac:spMk id="173" creationId="{828176CC-CA56-4A2C-A4A2-74D70F944F48}"/>
          </ac:spMkLst>
        </pc:spChg>
        <pc:spChg chg="mod ord topLvl">
          <ac:chgData name="Atkar, Devyani Anil" userId="30060140-18fd-4dc5-aee4-f2420943b387" providerId="ADAL" clId="{DF9B0C05-CC4F-4882-87E9-3A37CA25A441}" dt="2021-10-29T09:45:35.540" v="883" actId="1037"/>
          <ac:spMkLst>
            <pc:docMk/>
            <pc:sldMk cId="396023652" sldId="2146847386"/>
            <ac:spMk id="174" creationId="{2C3A0BC1-64C5-493C-B302-CB07AE7469FE}"/>
          </ac:spMkLst>
        </pc:spChg>
        <pc:spChg chg="mod topLvl">
          <ac:chgData name="Atkar, Devyani Anil" userId="30060140-18fd-4dc5-aee4-f2420943b387" providerId="ADAL" clId="{DF9B0C05-CC4F-4882-87E9-3A37CA25A441}" dt="2021-10-29T09:45:35.540" v="883" actId="1037"/>
          <ac:spMkLst>
            <pc:docMk/>
            <pc:sldMk cId="396023652" sldId="2146847386"/>
            <ac:spMk id="188" creationId="{2C1FA8F6-98E1-4F66-9D92-B71160A7A046}"/>
          </ac:spMkLst>
        </pc:spChg>
        <pc:spChg chg="mod topLvl">
          <ac:chgData name="Atkar, Devyani Anil" userId="30060140-18fd-4dc5-aee4-f2420943b387" providerId="ADAL" clId="{DF9B0C05-CC4F-4882-87E9-3A37CA25A441}" dt="2021-10-29T09:45:35.540" v="883" actId="1037"/>
          <ac:spMkLst>
            <pc:docMk/>
            <pc:sldMk cId="396023652" sldId="2146847386"/>
            <ac:spMk id="194" creationId="{02D2AC4E-422B-4944-AB44-8AEDA7D07548}"/>
          </ac:spMkLst>
        </pc:spChg>
        <pc:spChg chg="mod topLvl">
          <ac:chgData name="Atkar, Devyani Anil" userId="30060140-18fd-4dc5-aee4-f2420943b387" providerId="ADAL" clId="{DF9B0C05-CC4F-4882-87E9-3A37CA25A441}" dt="2021-10-29T09:45:35.540" v="883" actId="1037"/>
          <ac:spMkLst>
            <pc:docMk/>
            <pc:sldMk cId="396023652" sldId="2146847386"/>
            <ac:spMk id="212" creationId="{922A745E-7704-4DA9-B522-04002855C37E}"/>
          </ac:spMkLst>
        </pc:spChg>
        <pc:spChg chg="mod topLvl">
          <ac:chgData name="Atkar, Devyani Anil" userId="30060140-18fd-4dc5-aee4-f2420943b387" providerId="ADAL" clId="{DF9B0C05-CC4F-4882-87E9-3A37CA25A441}" dt="2021-10-29T09:45:35.540" v="883" actId="1037"/>
          <ac:spMkLst>
            <pc:docMk/>
            <pc:sldMk cId="396023652" sldId="2146847386"/>
            <ac:spMk id="232" creationId="{AD0382FA-0823-4B94-BB3A-F8F4A8F41CB3}"/>
          </ac:spMkLst>
        </pc:spChg>
        <pc:spChg chg="mod topLvl">
          <ac:chgData name="Atkar, Devyani Anil" userId="30060140-18fd-4dc5-aee4-f2420943b387" providerId="ADAL" clId="{DF9B0C05-CC4F-4882-87E9-3A37CA25A441}" dt="2021-10-29T09:45:35.540" v="883" actId="1037"/>
          <ac:spMkLst>
            <pc:docMk/>
            <pc:sldMk cId="396023652" sldId="2146847386"/>
            <ac:spMk id="233" creationId="{5C2E9B3E-06BB-4B71-A55E-14EFC74DC8E9}"/>
          </ac:spMkLst>
        </pc:spChg>
        <pc:spChg chg="mod topLvl">
          <ac:chgData name="Atkar, Devyani Anil" userId="30060140-18fd-4dc5-aee4-f2420943b387" providerId="ADAL" clId="{DF9B0C05-CC4F-4882-87E9-3A37CA25A441}" dt="2021-10-29T09:45:35.540" v="883" actId="1037"/>
          <ac:spMkLst>
            <pc:docMk/>
            <pc:sldMk cId="396023652" sldId="2146847386"/>
            <ac:spMk id="234" creationId="{3543B78E-FB2A-4096-847E-F9B0769576E0}"/>
          </ac:spMkLst>
        </pc:spChg>
        <pc:spChg chg="mod topLvl">
          <ac:chgData name="Atkar, Devyani Anil" userId="30060140-18fd-4dc5-aee4-f2420943b387" providerId="ADAL" clId="{DF9B0C05-CC4F-4882-87E9-3A37CA25A441}" dt="2021-10-29T09:45:35.540" v="883" actId="1037"/>
          <ac:spMkLst>
            <pc:docMk/>
            <pc:sldMk cId="396023652" sldId="2146847386"/>
            <ac:spMk id="235" creationId="{8A9BBD32-2799-434C-B487-648A507DFAA7}"/>
          </ac:spMkLst>
        </pc:spChg>
        <pc:spChg chg="mod topLvl">
          <ac:chgData name="Atkar, Devyani Anil" userId="30060140-18fd-4dc5-aee4-f2420943b387" providerId="ADAL" clId="{DF9B0C05-CC4F-4882-87E9-3A37CA25A441}" dt="2021-10-29T09:45:35.540" v="883" actId="1037"/>
          <ac:spMkLst>
            <pc:docMk/>
            <pc:sldMk cId="396023652" sldId="2146847386"/>
            <ac:spMk id="236" creationId="{3B3A2D9A-5E99-4356-B2A9-5450CC1B346B}"/>
          </ac:spMkLst>
        </pc:spChg>
        <pc:spChg chg="mod topLvl">
          <ac:chgData name="Atkar, Devyani Anil" userId="30060140-18fd-4dc5-aee4-f2420943b387" providerId="ADAL" clId="{DF9B0C05-CC4F-4882-87E9-3A37CA25A441}" dt="2021-10-29T09:45:35.540" v="883" actId="1037"/>
          <ac:spMkLst>
            <pc:docMk/>
            <pc:sldMk cId="396023652" sldId="2146847386"/>
            <ac:spMk id="237" creationId="{C5497DF1-D696-4DC6-915E-9129F32B1F4A}"/>
          </ac:spMkLst>
        </pc:spChg>
        <pc:spChg chg="mod topLvl">
          <ac:chgData name="Atkar, Devyani Anil" userId="30060140-18fd-4dc5-aee4-f2420943b387" providerId="ADAL" clId="{DF9B0C05-CC4F-4882-87E9-3A37CA25A441}" dt="2021-10-29T09:45:35.540" v="883" actId="1037"/>
          <ac:spMkLst>
            <pc:docMk/>
            <pc:sldMk cId="396023652" sldId="2146847386"/>
            <ac:spMk id="283" creationId="{D0C424FD-6529-41AD-AA69-A663B1662DBB}"/>
          </ac:spMkLst>
        </pc:spChg>
        <pc:spChg chg="mod topLvl">
          <ac:chgData name="Atkar, Devyani Anil" userId="30060140-18fd-4dc5-aee4-f2420943b387" providerId="ADAL" clId="{DF9B0C05-CC4F-4882-87E9-3A37CA25A441}" dt="2021-10-29T09:45:35.540" v="883" actId="1037"/>
          <ac:spMkLst>
            <pc:docMk/>
            <pc:sldMk cId="396023652" sldId="2146847386"/>
            <ac:spMk id="284" creationId="{8545D3FB-966F-43CB-A873-B5CF8A94F6DC}"/>
          </ac:spMkLst>
        </pc:spChg>
        <pc:spChg chg="mod topLvl">
          <ac:chgData name="Atkar, Devyani Anil" userId="30060140-18fd-4dc5-aee4-f2420943b387" providerId="ADAL" clId="{DF9B0C05-CC4F-4882-87E9-3A37CA25A441}" dt="2021-10-29T09:45:35.540" v="883" actId="1037"/>
          <ac:spMkLst>
            <pc:docMk/>
            <pc:sldMk cId="396023652" sldId="2146847386"/>
            <ac:spMk id="285" creationId="{BA2A7481-CCDF-491E-B5CC-C5F0EF64E805}"/>
          </ac:spMkLst>
        </pc:spChg>
        <pc:grpChg chg="add del mod ord">
          <ac:chgData name="Atkar, Devyani Anil" userId="30060140-18fd-4dc5-aee4-f2420943b387" providerId="ADAL" clId="{DF9B0C05-CC4F-4882-87E9-3A37CA25A441}" dt="2021-10-29T09:36:21.347" v="516" actId="165"/>
          <ac:grpSpMkLst>
            <pc:docMk/>
            <pc:sldMk cId="396023652" sldId="2146847386"/>
            <ac:grpSpMk id="2" creationId="{6BAB9747-191C-4D38-8240-88141BB40B5D}"/>
          </ac:grpSpMkLst>
        </pc:grpChg>
        <pc:grpChg chg="add del mod">
          <ac:chgData name="Atkar, Devyani Anil" userId="30060140-18fd-4dc5-aee4-f2420943b387" providerId="ADAL" clId="{DF9B0C05-CC4F-4882-87E9-3A37CA25A441}" dt="2021-10-29T09:39:48.527" v="636" actId="165"/>
          <ac:grpSpMkLst>
            <pc:docMk/>
            <pc:sldMk cId="396023652" sldId="2146847386"/>
            <ac:grpSpMk id="3" creationId="{253622C0-2C90-4A54-81BA-FB39B559950C}"/>
          </ac:grpSpMkLst>
        </pc:grpChg>
        <pc:grpChg chg="add del mod">
          <ac:chgData name="Atkar, Devyani Anil" userId="30060140-18fd-4dc5-aee4-f2420943b387" providerId="ADAL" clId="{DF9B0C05-CC4F-4882-87E9-3A37CA25A441}" dt="2021-10-29T09:39:44.644" v="635" actId="165"/>
          <ac:grpSpMkLst>
            <pc:docMk/>
            <pc:sldMk cId="396023652" sldId="2146847386"/>
            <ac:grpSpMk id="6" creationId="{DDE0BE38-0148-4990-AC8D-D73F4B18D160}"/>
          </ac:grpSpMkLst>
        </pc:grpChg>
        <pc:grpChg chg="add del mod">
          <ac:chgData name="Atkar, Devyani Anil" userId="30060140-18fd-4dc5-aee4-f2420943b387" providerId="ADAL" clId="{DF9B0C05-CC4F-4882-87E9-3A37CA25A441}" dt="2021-10-29T09:39:40.651" v="634" actId="165"/>
          <ac:grpSpMkLst>
            <pc:docMk/>
            <pc:sldMk cId="396023652" sldId="2146847386"/>
            <ac:grpSpMk id="7" creationId="{7986ED22-7EA9-4C61-9916-45E0C66C74AA}"/>
          </ac:grpSpMkLst>
        </pc:grpChg>
        <pc:grpChg chg="add del mod">
          <ac:chgData name="Atkar, Devyani Anil" userId="30060140-18fd-4dc5-aee4-f2420943b387" providerId="ADAL" clId="{DF9B0C05-CC4F-4882-87E9-3A37CA25A441}" dt="2021-10-29T09:39:35.872" v="633" actId="165"/>
          <ac:grpSpMkLst>
            <pc:docMk/>
            <pc:sldMk cId="396023652" sldId="2146847386"/>
            <ac:grpSpMk id="8" creationId="{1E713A0E-563C-47E0-8B92-76FA88D64AA6}"/>
          </ac:grpSpMkLst>
        </pc:grpChg>
        <pc:grpChg chg="add del mod">
          <ac:chgData name="Atkar, Devyani Anil" userId="30060140-18fd-4dc5-aee4-f2420943b387" providerId="ADAL" clId="{DF9B0C05-CC4F-4882-87E9-3A37CA25A441}" dt="2021-10-29T09:39:52.270" v="637" actId="165"/>
          <ac:grpSpMkLst>
            <pc:docMk/>
            <pc:sldMk cId="396023652" sldId="2146847386"/>
            <ac:grpSpMk id="9" creationId="{8CA49B49-7BE6-4192-8DAD-76B45F4F295B}"/>
          </ac:grpSpMkLst>
        </pc:grpChg>
        <pc:grpChg chg="add del mod">
          <ac:chgData name="Atkar, Devyani Anil" userId="30060140-18fd-4dc5-aee4-f2420943b387" providerId="ADAL" clId="{DF9B0C05-CC4F-4882-87E9-3A37CA25A441}" dt="2021-10-29T09:39:26.328" v="628" actId="164"/>
          <ac:grpSpMkLst>
            <pc:docMk/>
            <pc:sldMk cId="396023652" sldId="2146847386"/>
            <ac:grpSpMk id="10" creationId="{729F781D-340D-4A68-83AE-0970810D7C16}"/>
          </ac:grpSpMkLst>
        </pc:grpChg>
        <pc:grpChg chg="add mod">
          <ac:chgData name="Atkar, Devyani Anil" userId="30060140-18fd-4dc5-aee4-f2420943b387" providerId="ADAL" clId="{DF9B0C05-CC4F-4882-87E9-3A37CA25A441}" dt="2021-10-29T09:45:35.540" v="883" actId="1037"/>
          <ac:grpSpMkLst>
            <pc:docMk/>
            <pc:sldMk cId="396023652" sldId="2146847386"/>
            <ac:grpSpMk id="11" creationId="{8C06792E-21ED-41A2-84BC-78E67FF982E0}"/>
          </ac:grpSpMkLst>
        </pc:grpChg>
        <pc:grpChg chg="add mod">
          <ac:chgData name="Atkar, Devyani Anil" userId="30060140-18fd-4dc5-aee4-f2420943b387" providerId="ADAL" clId="{DF9B0C05-CC4F-4882-87E9-3A37CA25A441}" dt="2021-10-29T09:45:35.540" v="883" actId="1037"/>
          <ac:grpSpMkLst>
            <pc:docMk/>
            <pc:sldMk cId="396023652" sldId="2146847386"/>
            <ac:grpSpMk id="12" creationId="{4432851C-2404-4259-AFBF-9E3F9F618005}"/>
          </ac:grpSpMkLst>
        </pc:grpChg>
        <pc:grpChg chg="add mod">
          <ac:chgData name="Atkar, Devyani Anil" userId="30060140-18fd-4dc5-aee4-f2420943b387" providerId="ADAL" clId="{DF9B0C05-CC4F-4882-87E9-3A37CA25A441}" dt="2021-10-29T09:45:35.540" v="883" actId="1037"/>
          <ac:grpSpMkLst>
            <pc:docMk/>
            <pc:sldMk cId="396023652" sldId="2146847386"/>
            <ac:grpSpMk id="13" creationId="{A34C1851-30FE-4DC4-9BA6-5894AA4A4017}"/>
          </ac:grpSpMkLst>
        </pc:grpChg>
        <pc:grpChg chg="add mod">
          <ac:chgData name="Atkar, Devyani Anil" userId="30060140-18fd-4dc5-aee4-f2420943b387" providerId="ADAL" clId="{DF9B0C05-CC4F-4882-87E9-3A37CA25A441}" dt="2021-10-29T09:45:35.540" v="883" actId="1037"/>
          <ac:grpSpMkLst>
            <pc:docMk/>
            <pc:sldMk cId="396023652" sldId="2146847386"/>
            <ac:grpSpMk id="14" creationId="{6F01A2AE-F2A5-41E6-B5F9-57C2A538FC0D}"/>
          </ac:grpSpMkLst>
        </pc:grpChg>
        <pc:grpChg chg="add mod">
          <ac:chgData name="Atkar, Devyani Anil" userId="30060140-18fd-4dc5-aee4-f2420943b387" providerId="ADAL" clId="{DF9B0C05-CC4F-4882-87E9-3A37CA25A441}" dt="2021-10-29T09:45:35.540" v="883" actId="1037"/>
          <ac:grpSpMkLst>
            <pc:docMk/>
            <pc:sldMk cId="396023652" sldId="2146847386"/>
            <ac:grpSpMk id="15" creationId="{D1D7C3A8-1E18-493A-B3ED-7B3BF7242B2D}"/>
          </ac:grpSpMkLst>
        </pc:grpChg>
        <pc:graphicFrameChg chg="add del mod">
          <ac:chgData name="Atkar, Devyani Anil" userId="30060140-18fd-4dc5-aee4-f2420943b387" providerId="ADAL" clId="{DF9B0C05-CC4F-4882-87E9-3A37CA25A441}" dt="2021-10-29T09:37:33.576" v="528"/>
          <ac:graphicFrameMkLst>
            <pc:docMk/>
            <pc:sldMk cId="396023652" sldId="2146847386"/>
            <ac:graphicFrameMk id="64" creationId="{EE67A5D3-4A02-4C85-A859-E08A855BB0FB}"/>
          </ac:graphicFrameMkLst>
        </pc:graphicFrameChg>
        <pc:graphicFrameChg chg="add del mod">
          <ac:chgData name="Atkar, Devyani Anil" userId="30060140-18fd-4dc5-aee4-f2420943b387" providerId="ADAL" clId="{DF9B0C05-CC4F-4882-87E9-3A37CA25A441}" dt="2021-10-29T09:37:33.576" v="528"/>
          <ac:graphicFrameMkLst>
            <pc:docMk/>
            <pc:sldMk cId="396023652" sldId="2146847386"/>
            <ac:graphicFrameMk id="76" creationId="{F3AA0982-77BA-4561-A4AD-E793B1581893}"/>
          </ac:graphicFrameMkLst>
        </pc:graphicFrameChg>
        <pc:graphicFrameChg chg="add del mod">
          <ac:chgData name="Atkar, Devyani Anil" userId="30060140-18fd-4dc5-aee4-f2420943b387" providerId="ADAL" clId="{DF9B0C05-CC4F-4882-87E9-3A37CA25A441}" dt="2021-10-29T09:37:33.576" v="528"/>
          <ac:graphicFrameMkLst>
            <pc:docMk/>
            <pc:sldMk cId="396023652" sldId="2146847386"/>
            <ac:graphicFrameMk id="77" creationId="{CD02374E-3002-46B3-A1DC-A62100DC9487}"/>
          </ac:graphicFrameMkLst>
        </pc:graphicFrameChg>
        <pc:graphicFrameChg chg="add del mod">
          <ac:chgData name="Atkar, Devyani Anil" userId="30060140-18fd-4dc5-aee4-f2420943b387" providerId="ADAL" clId="{DF9B0C05-CC4F-4882-87E9-3A37CA25A441}" dt="2021-10-29T09:41:10.953" v="665"/>
          <ac:graphicFrameMkLst>
            <pc:docMk/>
            <pc:sldMk cId="396023652" sldId="2146847386"/>
            <ac:graphicFrameMk id="79" creationId="{BB672245-0074-47EB-A555-8DC9FC27E7F5}"/>
          </ac:graphicFrameMkLst>
        </pc:graphicFrameChg>
        <pc:graphicFrameChg chg="add del mod">
          <ac:chgData name="Atkar, Devyani Anil" userId="30060140-18fd-4dc5-aee4-f2420943b387" providerId="ADAL" clId="{DF9B0C05-CC4F-4882-87E9-3A37CA25A441}" dt="2021-10-29T09:41:10.953" v="665"/>
          <ac:graphicFrameMkLst>
            <pc:docMk/>
            <pc:sldMk cId="396023652" sldId="2146847386"/>
            <ac:graphicFrameMk id="91" creationId="{18A53F2F-AA06-4012-8235-25D6C95FAA61}"/>
          </ac:graphicFrameMkLst>
        </pc:graphicFrameChg>
        <pc:graphicFrameChg chg="add del mod">
          <ac:chgData name="Atkar, Devyani Anil" userId="30060140-18fd-4dc5-aee4-f2420943b387" providerId="ADAL" clId="{DF9B0C05-CC4F-4882-87E9-3A37CA25A441}" dt="2021-10-29T09:41:10.953" v="665"/>
          <ac:graphicFrameMkLst>
            <pc:docMk/>
            <pc:sldMk cId="396023652" sldId="2146847386"/>
            <ac:graphicFrameMk id="92" creationId="{5751C5B5-0F87-4E22-93A8-B095464106A7}"/>
          </ac:graphicFrameMkLst>
        </pc:graphicFrameChg>
        <pc:graphicFrameChg chg="add mod">
          <ac:chgData name="Atkar, Devyani Anil" userId="30060140-18fd-4dc5-aee4-f2420943b387" providerId="ADAL" clId="{DF9B0C05-CC4F-4882-87E9-3A37CA25A441}" dt="2021-10-29T09:47:26.546" v="1007" actId="1035"/>
          <ac:graphicFrameMkLst>
            <pc:docMk/>
            <pc:sldMk cId="396023652" sldId="2146847386"/>
            <ac:graphicFrameMk id="93" creationId="{534A38B8-34E6-4057-A756-B88CBE6954E5}"/>
          </ac:graphicFrameMkLst>
        </pc:graphicFrameChg>
        <pc:graphicFrameChg chg="add mod">
          <ac:chgData name="Atkar, Devyani Anil" userId="30060140-18fd-4dc5-aee4-f2420943b387" providerId="ADAL" clId="{DF9B0C05-CC4F-4882-87E9-3A37CA25A441}" dt="2021-10-29T09:45:35.540" v="883" actId="1037"/>
          <ac:graphicFrameMkLst>
            <pc:docMk/>
            <pc:sldMk cId="396023652" sldId="2146847386"/>
            <ac:graphicFrameMk id="105" creationId="{9345318F-C54A-4F34-8E49-E038E7C1D27C}"/>
          </ac:graphicFrameMkLst>
        </pc:graphicFrameChg>
        <pc:graphicFrameChg chg="add mod">
          <ac:chgData name="Atkar, Devyani Anil" userId="30060140-18fd-4dc5-aee4-f2420943b387" providerId="ADAL" clId="{DF9B0C05-CC4F-4882-87E9-3A37CA25A441}" dt="2021-10-29T09:45:35.540" v="883" actId="1037"/>
          <ac:graphicFrameMkLst>
            <pc:docMk/>
            <pc:sldMk cId="396023652" sldId="2146847386"/>
            <ac:graphicFrameMk id="106" creationId="{FDF94E86-BD79-4A80-B375-2F7C6759DF8D}"/>
          </ac:graphicFrameMkLst>
        </pc:graphicFrameChg>
        <pc:graphicFrameChg chg="del">
          <ac:chgData name="Atkar, Devyani Anil" userId="30060140-18fd-4dc5-aee4-f2420943b387" providerId="ADAL" clId="{DF9B0C05-CC4F-4882-87E9-3A37CA25A441}" dt="2021-10-29T09:22:47.491" v="400" actId="478"/>
          <ac:graphicFrameMkLst>
            <pc:docMk/>
            <pc:sldMk cId="396023652" sldId="2146847386"/>
            <ac:graphicFrameMk id="153" creationId="{1A99694C-95EA-4704-A555-136B2D5CCECF}"/>
          </ac:graphicFrameMkLst>
        </pc:graphicFrameChg>
        <pc:graphicFrameChg chg="del">
          <ac:chgData name="Atkar, Devyani Anil" userId="30060140-18fd-4dc5-aee4-f2420943b387" providerId="ADAL" clId="{DF9B0C05-CC4F-4882-87E9-3A37CA25A441}" dt="2021-10-29T09:22:47.491" v="400" actId="478"/>
          <ac:graphicFrameMkLst>
            <pc:docMk/>
            <pc:sldMk cId="396023652" sldId="2146847386"/>
            <ac:graphicFrameMk id="230" creationId="{2493ED3A-4FEA-44A3-8035-2AFBF6FFBA68}"/>
          </ac:graphicFrameMkLst>
        </pc:graphicFrameChg>
        <pc:graphicFrameChg chg="del">
          <ac:chgData name="Atkar, Devyani Anil" userId="30060140-18fd-4dc5-aee4-f2420943b387" providerId="ADAL" clId="{DF9B0C05-CC4F-4882-87E9-3A37CA25A441}" dt="2021-10-29T09:22:47.491" v="400" actId="478"/>
          <ac:graphicFrameMkLst>
            <pc:docMk/>
            <pc:sldMk cId="396023652" sldId="2146847386"/>
            <ac:graphicFrameMk id="310" creationId="{33645130-C956-454E-8774-198CBE5A7E8A}"/>
          </ac:graphicFrameMkLst>
        </pc:graphicFrameChg>
        <pc:picChg chg="add del mod">
          <ac:chgData name="Atkar, Devyani Anil" userId="30060140-18fd-4dc5-aee4-f2420943b387" providerId="ADAL" clId="{DF9B0C05-CC4F-4882-87E9-3A37CA25A441}" dt="2021-10-29T09:37:33.576" v="528"/>
          <ac:picMkLst>
            <pc:docMk/>
            <pc:sldMk cId="396023652" sldId="2146847386"/>
            <ac:picMk id="65" creationId="{6CE98F03-D7F2-4DF8-9034-68853898F001}"/>
          </ac:picMkLst>
        </pc:picChg>
        <pc:picChg chg="add del mod">
          <ac:chgData name="Atkar, Devyani Anil" userId="30060140-18fd-4dc5-aee4-f2420943b387" providerId="ADAL" clId="{DF9B0C05-CC4F-4882-87E9-3A37CA25A441}" dt="2021-10-29T09:37:33.576" v="528"/>
          <ac:picMkLst>
            <pc:docMk/>
            <pc:sldMk cId="396023652" sldId="2146847386"/>
            <ac:picMk id="66" creationId="{3A8BC036-A491-41DF-B1B8-5662207FB9FA}"/>
          </ac:picMkLst>
        </pc:picChg>
        <pc:picChg chg="add del mod">
          <ac:chgData name="Atkar, Devyani Anil" userId="30060140-18fd-4dc5-aee4-f2420943b387" providerId="ADAL" clId="{DF9B0C05-CC4F-4882-87E9-3A37CA25A441}" dt="2021-10-29T09:37:33.576" v="528"/>
          <ac:picMkLst>
            <pc:docMk/>
            <pc:sldMk cId="396023652" sldId="2146847386"/>
            <ac:picMk id="67" creationId="{45905EC7-A1EB-4ED3-AE83-862C7AC09427}"/>
          </ac:picMkLst>
        </pc:picChg>
        <pc:picChg chg="add del mod">
          <ac:chgData name="Atkar, Devyani Anil" userId="30060140-18fd-4dc5-aee4-f2420943b387" providerId="ADAL" clId="{DF9B0C05-CC4F-4882-87E9-3A37CA25A441}" dt="2021-10-29T09:37:33.576" v="528"/>
          <ac:picMkLst>
            <pc:docMk/>
            <pc:sldMk cId="396023652" sldId="2146847386"/>
            <ac:picMk id="68" creationId="{C349315E-D90B-44B0-ACAB-56211CD6AC54}"/>
          </ac:picMkLst>
        </pc:picChg>
        <pc:picChg chg="add del mod">
          <ac:chgData name="Atkar, Devyani Anil" userId="30060140-18fd-4dc5-aee4-f2420943b387" providerId="ADAL" clId="{DF9B0C05-CC4F-4882-87E9-3A37CA25A441}" dt="2021-10-29T09:37:33.576" v="528"/>
          <ac:picMkLst>
            <pc:docMk/>
            <pc:sldMk cId="396023652" sldId="2146847386"/>
            <ac:picMk id="69" creationId="{DEB14048-C06D-4AEE-A1FA-46183FD75A61}"/>
          </ac:picMkLst>
        </pc:picChg>
        <pc:picChg chg="add del mod">
          <ac:chgData name="Atkar, Devyani Anil" userId="30060140-18fd-4dc5-aee4-f2420943b387" providerId="ADAL" clId="{DF9B0C05-CC4F-4882-87E9-3A37CA25A441}" dt="2021-10-29T09:37:33.576" v="528"/>
          <ac:picMkLst>
            <pc:docMk/>
            <pc:sldMk cId="396023652" sldId="2146847386"/>
            <ac:picMk id="70" creationId="{811A0BE3-1798-40D5-A07C-728E108CB17D}"/>
          </ac:picMkLst>
        </pc:picChg>
        <pc:picChg chg="add del mod">
          <ac:chgData name="Atkar, Devyani Anil" userId="30060140-18fd-4dc5-aee4-f2420943b387" providerId="ADAL" clId="{DF9B0C05-CC4F-4882-87E9-3A37CA25A441}" dt="2021-10-29T09:37:33.576" v="528"/>
          <ac:picMkLst>
            <pc:docMk/>
            <pc:sldMk cId="396023652" sldId="2146847386"/>
            <ac:picMk id="71" creationId="{BF9FCA30-220B-4F10-8E06-2EE1CB33E9C8}"/>
          </ac:picMkLst>
        </pc:picChg>
        <pc:picChg chg="add del mod">
          <ac:chgData name="Atkar, Devyani Anil" userId="30060140-18fd-4dc5-aee4-f2420943b387" providerId="ADAL" clId="{DF9B0C05-CC4F-4882-87E9-3A37CA25A441}" dt="2021-10-29T09:37:33.576" v="528"/>
          <ac:picMkLst>
            <pc:docMk/>
            <pc:sldMk cId="396023652" sldId="2146847386"/>
            <ac:picMk id="72" creationId="{3F379E81-7A5B-4B6D-864B-7F507629A80A}"/>
          </ac:picMkLst>
        </pc:picChg>
        <pc:picChg chg="add del mod">
          <ac:chgData name="Atkar, Devyani Anil" userId="30060140-18fd-4dc5-aee4-f2420943b387" providerId="ADAL" clId="{DF9B0C05-CC4F-4882-87E9-3A37CA25A441}" dt="2021-10-29T09:37:33.576" v="528"/>
          <ac:picMkLst>
            <pc:docMk/>
            <pc:sldMk cId="396023652" sldId="2146847386"/>
            <ac:picMk id="73" creationId="{0D5A4CB6-B4E7-4D3E-B481-BDC773178D98}"/>
          </ac:picMkLst>
        </pc:picChg>
        <pc:picChg chg="add del mod">
          <ac:chgData name="Atkar, Devyani Anil" userId="30060140-18fd-4dc5-aee4-f2420943b387" providerId="ADAL" clId="{DF9B0C05-CC4F-4882-87E9-3A37CA25A441}" dt="2021-10-29T09:37:33.576" v="528"/>
          <ac:picMkLst>
            <pc:docMk/>
            <pc:sldMk cId="396023652" sldId="2146847386"/>
            <ac:picMk id="74" creationId="{AF64F248-CEAA-4837-8E12-2C73DD9AB845}"/>
          </ac:picMkLst>
        </pc:picChg>
        <pc:picChg chg="add del mod">
          <ac:chgData name="Atkar, Devyani Anil" userId="30060140-18fd-4dc5-aee4-f2420943b387" providerId="ADAL" clId="{DF9B0C05-CC4F-4882-87E9-3A37CA25A441}" dt="2021-10-29T09:37:33.576" v="528"/>
          <ac:picMkLst>
            <pc:docMk/>
            <pc:sldMk cId="396023652" sldId="2146847386"/>
            <ac:picMk id="75" creationId="{3C27CB29-EAD8-46B0-B874-40E54BCF7E4E}"/>
          </ac:picMkLst>
        </pc:picChg>
        <pc:picChg chg="add del mod">
          <ac:chgData name="Atkar, Devyani Anil" userId="30060140-18fd-4dc5-aee4-f2420943b387" providerId="ADAL" clId="{DF9B0C05-CC4F-4882-87E9-3A37CA25A441}" dt="2021-10-29T09:41:10.953" v="665"/>
          <ac:picMkLst>
            <pc:docMk/>
            <pc:sldMk cId="396023652" sldId="2146847386"/>
            <ac:picMk id="80" creationId="{1E4F2CD7-C382-43BB-89C3-3886BDD0ECF4}"/>
          </ac:picMkLst>
        </pc:picChg>
        <pc:picChg chg="add del mod">
          <ac:chgData name="Atkar, Devyani Anil" userId="30060140-18fd-4dc5-aee4-f2420943b387" providerId="ADAL" clId="{DF9B0C05-CC4F-4882-87E9-3A37CA25A441}" dt="2021-10-29T09:41:10.953" v="665"/>
          <ac:picMkLst>
            <pc:docMk/>
            <pc:sldMk cId="396023652" sldId="2146847386"/>
            <ac:picMk id="81" creationId="{A2B554B9-F947-4F70-A00E-97D6DDD1FD43}"/>
          </ac:picMkLst>
        </pc:picChg>
        <pc:picChg chg="add del mod">
          <ac:chgData name="Atkar, Devyani Anil" userId="30060140-18fd-4dc5-aee4-f2420943b387" providerId="ADAL" clId="{DF9B0C05-CC4F-4882-87E9-3A37CA25A441}" dt="2021-10-29T09:41:10.953" v="665"/>
          <ac:picMkLst>
            <pc:docMk/>
            <pc:sldMk cId="396023652" sldId="2146847386"/>
            <ac:picMk id="82" creationId="{4E7C9368-D326-4C9F-8F70-B843F02CE3E3}"/>
          </ac:picMkLst>
        </pc:picChg>
        <pc:picChg chg="add del mod">
          <ac:chgData name="Atkar, Devyani Anil" userId="30060140-18fd-4dc5-aee4-f2420943b387" providerId="ADAL" clId="{DF9B0C05-CC4F-4882-87E9-3A37CA25A441}" dt="2021-10-29T09:41:10.953" v="665"/>
          <ac:picMkLst>
            <pc:docMk/>
            <pc:sldMk cId="396023652" sldId="2146847386"/>
            <ac:picMk id="83" creationId="{1812EC86-46A7-42B4-BDBB-A97B03C3859D}"/>
          </ac:picMkLst>
        </pc:picChg>
        <pc:picChg chg="add del mod">
          <ac:chgData name="Atkar, Devyani Anil" userId="30060140-18fd-4dc5-aee4-f2420943b387" providerId="ADAL" clId="{DF9B0C05-CC4F-4882-87E9-3A37CA25A441}" dt="2021-10-29T09:41:10.953" v="665"/>
          <ac:picMkLst>
            <pc:docMk/>
            <pc:sldMk cId="396023652" sldId="2146847386"/>
            <ac:picMk id="84" creationId="{A9706658-BD44-4B60-A318-8A758BFB8779}"/>
          </ac:picMkLst>
        </pc:picChg>
        <pc:picChg chg="add del mod">
          <ac:chgData name="Atkar, Devyani Anil" userId="30060140-18fd-4dc5-aee4-f2420943b387" providerId="ADAL" clId="{DF9B0C05-CC4F-4882-87E9-3A37CA25A441}" dt="2021-10-29T09:41:10.953" v="665"/>
          <ac:picMkLst>
            <pc:docMk/>
            <pc:sldMk cId="396023652" sldId="2146847386"/>
            <ac:picMk id="85" creationId="{A3B2D9B6-6FFE-484E-8ADD-544DBDD69A30}"/>
          </ac:picMkLst>
        </pc:picChg>
        <pc:picChg chg="add del mod">
          <ac:chgData name="Atkar, Devyani Anil" userId="30060140-18fd-4dc5-aee4-f2420943b387" providerId="ADAL" clId="{DF9B0C05-CC4F-4882-87E9-3A37CA25A441}" dt="2021-10-29T09:41:10.953" v="665"/>
          <ac:picMkLst>
            <pc:docMk/>
            <pc:sldMk cId="396023652" sldId="2146847386"/>
            <ac:picMk id="86" creationId="{6CE0D232-DF9F-42EC-8646-98CB1DAB801C}"/>
          </ac:picMkLst>
        </pc:picChg>
        <pc:picChg chg="add del mod">
          <ac:chgData name="Atkar, Devyani Anil" userId="30060140-18fd-4dc5-aee4-f2420943b387" providerId="ADAL" clId="{DF9B0C05-CC4F-4882-87E9-3A37CA25A441}" dt="2021-10-29T09:41:10.953" v="665"/>
          <ac:picMkLst>
            <pc:docMk/>
            <pc:sldMk cId="396023652" sldId="2146847386"/>
            <ac:picMk id="87" creationId="{315F4701-939F-4AD8-98E8-FA93A321FDD7}"/>
          </ac:picMkLst>
        </pc:picChg>
        <pc:picChg chg="add del mod">
          <ac:chgData name="Atkar, Devyani Anil" userId="30060140-18fd-4dc5-aee4-f2420943b387" providerId="ADAL" clId="{DF9B0C05-CC4F-4882-87E9-3A37CA25A441}" dt="2021-10-29T09:41:10.953" v="665"/>
          <ac:picMkLst>
            <pc:docMk/>
            <pc:sldMk cId="396023652" sldId="2146847386"/>
            <ac:picMk id="88" creationId="{210F3936-D686-43D1-8889-F80F34668ACE}"/>
          </ac:picMkLst>
        </pc:picChg>
        <pc:picChg chg="add del mod">
          <ac:chgData name="Atkar, Devyani Anil" userId="30060140-18fd-4dc5-aee4-f2420943b387" providerId="ADAL" clId="{DF9B0C05-CC4F-4882-87E9-3A37CA25A441}" dt="2021-10-29T09:41:10.953" v="665"/>
          <ac:picMkLst>
            <pc:docMk/>
            <pc:sldMk cId="396023652" sldId="2146847386"/>
            <ac:picMk id="89" creationId="{9A509AC0-92FF-4CB2-BFF5-0E76EB6FE5A3}"/>
          </ac:picMkLst>
        </pc:picChg>
        <pc:picChg chg="add del mod">
          <ac:chgData name="Atkar, Devyani Anil" userId="30060140-18fd-4dc5-aee4-f2420943b387" providerId="ADAL" clId="{DF9B0C05-CC4F-4882-87E9-3A37CA25A441}" dt="2021-10-29T09:41:10.953" v="665"/>
          <ac:picMkLst>
            <pc:docMk/>
            <pc:sldMk cId="396023652" sldId="2146847386"/>
            <ac:picMk id="90" creationId="{FE863CC7-C7A9-438F-BE50-B122DD405F3D}"/>
          </ac:picMkLst>
        </pc:picChg>
        <pc:picChg chg="add mod">
          <ac:chgData name="Atkar, Devyani Anil" userId="30060140-18fd-4dc5-aee4-f2420943b387" providerId="ADAL" clId="{DF9B0C05-CC4F-4882-87E9-3A37CA25A441}" dt="2021-10-29T09:47:23.236" v="998" actId="1035"/>
          <ac:picMkLst>
            <pc:docMk/>
            <pc:sldMk cId="396023652" sldId="2146847386"/>
            <ac:picMk id="94" creationId="{901D9651-57A0-4C81-8ADB-DD7B841ECBA7}"/>
          </ac:picMkLst>
        </pc:picChg>
        <pc:picChg chg="add mod">
          <ac:chgData name="Atkar, Devyani Anil" userId="30060140-18fd-4dc5-aee4-f2420943b387" providerId="ADAL" clId="{DF9B0C05-CC4F-4882-87E9-3A37CA25A441}" dt="2021-10-29T09:47:23.236" v="998" actId="1035"/>
          <ac:picMkLst>
            <pc:docMk/>
            <pc:sldMk cId="396023652" sldId="2146847386"/>
            <ac:picMk id="95" creationId="{6E0448E0-1CE3-4A1A-9D4C-0C6551CB40BB}"/>
          </ac:picMkLst>
        </pc:picChg>
        <pc:picChg chg="add mod">
          <ac:chgData name="Atkar, Devyani Anil" userId="30060140-18fd-4dc5-aee4-f2420943b387" providerId="ADAL" clId="{DF9B0C05-CC4F-4882-87E9-3A37CA25A441}" dt="2021-10-29T09:47:23.236" v="998" actId="1035"/>
          <ac:picMkLst>
            <pc:docMk/>
            <pc:sldMk cId="396023652" sldId="2146847386"/>
            <ac:picMk id="96" creationId="{0C38EA83-9759-4B75-BF5E-07AFB0234B04}"/>
          </ac:picMkLst>
        </pc:picChg>
        <pc:picChg chg="add mod">
          <ac:chgData name="Atkar, Devyani Anil" userId="30060140-18fd-4dc5-aee4-f2420943b387" providerId="ADAL" clId="{DF9B0C05-CC4F-4882-87E9-3A37CA25A441}" dt="2021-10-29T09:45:35.540" v="883" actId="1037"/>
          <ac:picMkLst>
            <pc:docMk/>
            <pc:sldMk cId="396023652" sldId="2146847386"/>
            <ac:picMk id="97" creationId="{3BAD0BAF-CA64-45F6-979A-CCA78AFCBA9D}"/>
          </ac:picMkLst>
        </pc:picChg>
        <pc:picChg chg="add mod">
          <ac:chgData name="Atkar, Devyani Anil" userId="30060140-18fd-4dc5-aee4-f2420943b387" providerId="ADAL" clId="{DF9B0C05-CC4F-4882-87E9-3A37CA25A441}" dt="2021-10-29T09:45:35.540" v="883" actId="1037"/>
          <ac:picMkLst>
            <pc:docMk/>
            <pc:sldMk cId="396023652" sldId="2146847386"/>
            <ac:picMk id="98" creationId="{03E6808E-9CA7-4783-952E-43A233D62A3E}"/>
          </ac:picMkLst>
        </pc:picChg>
        <pc:picChg chg="add mod">
          <ac:chgData name="Atkar, Devyani Anil" userId="30060140-18fd-4dc5-aee4-f2420943b387" providerId="ADAL" clId="{DF9B0C05-CC4F-4882-87E9-3A37CA25A441}" dt="2021-10-29T09:45:35.540" v="883" actId="1037"/>
          <ac:picMkLst>
            <pc:docMk/>
            <pc:sldMk cId="396023652" sldId="2146847386"/>
            <ac:picMk id="99" creationId="{B80F4506-FB2E-4198-A08D-4A5285ABD299}"/>
          </ac:picMkLst>
        </pc:picChg>
        <pc:picChg chg="add mod">
          <ac:chgData name="Atkar, Devyani Anil" userId="30060140-18fd-4dc5-aee4-f2420943b387" providerId="ADAL" clId="{DF9B0C05-CC4F-4882-87E9-3A37CA25A441}" dt="2021-10-29T09:45:35.540" v="883" actId="1037"/>
          <ac:picMkLst>
            <pc:docMk/>
            <pc:sldMk cId="396023652" sldId="2146847386"/>
            <ac:picMk id="100" creationId="{CF408987-51AA-4089-B668-ACAF93B4B8C5}"/>
          </ac:picMkLst>
        </pc:picChg>
        <pc:picChg chg="add mod">
          <ac:chgData name="Atkar, Devyani Anil" userId="30060140-18fd-4dc5-aee4-f2420943b387" providerId="ADAL" clId="{DF9B0C05-CC4F-4882-87E9-3A37CA25A441}" dt="2021-10-29T09:45:35.540" v="883" actId="1037"/>
          <ac:picMkLst>
            <pc:docMk/>
            <pc:sldMk cId="396023652" sldId="2146847386"/>
            <ac:picMk id="101" creationId="{EC5D10B4-0103-47B6-A1F7-E8D9F18E7C11}"/>
          </ac:picMkLst>
        </pc:picChg>
        <pc:picChg chg="add mod">
          <ac:chgData name="Atkar, Devyani Anil" userId="30060140-18fd-4dc5-aee4-f2420943b387" providerId="ADAL" clId="{DF9B0C05-CC4F-4882-87E9-3A37CA25A441}" dt="2021-10-29T09:45:35.540" v="883" actId="1037"/>
          <ac:picMkLst>
            <pc:docMk/>
            <pc:sldMk cId="396023652" sldId="2146847386"/>
            <ac:picMk id="102" creationId="{FD517E21-461A-4700-89AE-1C4C7B37803F}"/>
          </ac:picMkLst>
        </pc:picChg>
        <pc:picChg chg="add mod">
          <ac:chgData name="Atkar, Devyani Anil" userId="30060140-18fd-4dc5-aee4-f2420943b387" providerId="ADAL" clId="{DF9B0C05-CC4F-4882-87E9-3A37CA25A441}" dt="2021-10-29T09:45:35.540" v="883" actId="1037"/>
          <ac:picMkLst>
            <pc:docMk/>
            <pc:sldMk cId="396023652" sldId="2146847386"/>
            <ac:picMk id="103" creationId="{2E461EF8-310F-4A2F-AB4C-4D6CF1997B3A}"/>
          </ac:picMkLst>
        </pc:picChg>
        <pc:picChg chg="add mod">
          <ac:chgData name="Atkar, Devyani Anil" userId="30060140-18fd-4dc5-aee4-f2420943b387" providerId="ADAL" clId="{DF9B0C05-CC4F-4882-87E9-3A37CA25A441}" dt="2021-10-29T09:45:35.540" v="883" actId="1037"/>
          <ac:picMkLst>
            <pc:docMk/>
            <pc:sldMk cId="396023652" sldId="2146847386"/>
            <ac:picMk id="104" creationId="{5BD29426-FBEB-4DAB-AF11-D2501BC8B3ED}"/>
          </ac:picMkLst>
        </pc:picChg>
        <pc:picChg chg="del">
          <ac:chgData name="Atkar, Devyani Anil" userId="30060140-18fd-4dc5-aee4-f2420943b387" providerId="ADAL" clId="{DF9B0C05-CC4F-4882-87E9-3A37CA25A441}" dt="2021-10-29T09:22:47.491" v="400" actId="478"/>
          <ac:picMkLst>
            <pc:docMk/>
            <pc:sldMk cId="396023652" sldId="2146847386"/>
            <ac:picMk id="154" creationId="{5AB7E2FE-65E4-4E40-9A03-D3C137465261}"/>
          </ac:picMkLst>
        </pc:picChg>
        <pc:picChg chg="del">
          <ac:chgData name="Atkar, Devyani Anil" userId="30060140-18fd-4dc5-aee4-f2420943b387" providerId="ADAL" clId="{DF9B0C05-CC4F-4882-87E9-3A37CA25A441}" dt="2021-10-29T09:22:47.491" v="400" actId="478"/>
          <ac:picMkLst>
            <pc:docMk/>
            <pc:sldMk cId="396023652" sldId="2146847386"/>
            <ac:picMk id="165" creationId="{E2F50A85-F6E3-4E6B-A9D4-DD25B16AA40F}"/>
          </ac:picMkLst>
        </pc:picChg>
        <pc:picChg chg="del">
          <ac:chgData name="Atkar, Devyani Anil" userId="30060140-18fd-4dc5-aee4-f2420943b387" providerId="ADAL" clId="{DF9B0C05-CC4F-4882-87E9-3A37CA25A441}" dt="2021-10-29T09:22:47.491" v="400" actId="478"/>
          <ac:picMkLst>
            <pc:docMk/>
            <pc:sldMk cId="396023652" sldId="2146847386"/>
            <ac:picMk id="166" creationId="{7572EC29-C125-49BA-84F7-C10E80B2D6FB}"/>
          </ac:picMkLst>
        </pc:picChg>
        <pc:picChg chg="del">
          <ac:chgData name="Atkar, Devyani Anil" userId="30060140-18fd-4dc5-aee4-f2420943b387" providerId="ADAL" clId="{DF9B0C05-CC4F-4882-87E9-3A37CA25A441}" dt="2021-10-29T09:22:47.491" v="400" actId="478"/>
          <ac:picMkLst>
            <pc:docMk/>
            <pc:sldMk cId="396023652" sldId="2146847386"/>
            <ac:picMk id="167" creationId="{13E4A922-5DA4-433E-B925-DCDBA3B846DC}"/>
          </ac:picMkLst>
        </pc:picChg>
        <pc:picChg chg="del">
          <ac:chgData name="Atkar, Devyani Anil" userId="30060140-18fd-4dc5-aee4-f2420943b387" providerId="ADAL" clId="{DF9B0C05-CC4F-4882-87E9-3A37CA25A441}" dt="2021-10-29T09:22:47.491" v="400" actId="478"/>
          <ac:picMkLst>
            <pc:docMk/>
            <pc:sldMk cId="396023652" sldId="2146847386"/>
            <ac:picMk id="168" creationId="{D250E331-5823-4ACF-B11D-0743CF8C5111}"/>
          </ac:picMkLst>
        </pc:picChg>
        <pc:picChg chg="del">
          <ac:chgData name="Atkar, Devyani Anil" userId="30060140-18fd-4dc5-aee4-f2420943b387" providerId="ADAL" clId="{DF9B0C05-CC4F-4882-87E9-3A37CA25A441}" dt="2021-10-29T09:22:47.491" v="400" actId="478"/>
          <ac:picMkLst>
            <pc:docMk/>
            <pc:sldMk cId="396023652" sldId="2146847386"/>
            <ac:picMk id="171" creationId="{926D6B5D-1E65-4745-BDA4-786C9C5B20E4}"/>
          </ac:picMkLst>
        </pc:picChg>
        <pc:picChg chg="del">
          <ac:chgData name="Atkar, Devyani Anil" userId="30060140-18fd-4dc5-aee4-f2420943b387" providerId="ADAL" clId="{DF9B0C05-CC4F-4882-87E9-3A37CA25A441}" dt="2021-10-29T09:22:47.491" v="400" actId="478"/>
          <ac:picMkLst>
            <pc:docMk/>
            <pc:sldMk cId="396023652" sldId="2146847386"/>
            <ac:picMk id="180" creationId="{A2FA2F3D-DE46-4A54-A828-5A7FEA817524}"/>
          </ac:picMkLst>
        </pc:picChg>
        <pc:picChg chg="del">
          <ac:chgData name="Atkar, Devyani Anil" userId="30060140-18fd-4dc5-aee4-f2420943b387" providerId="ADAL" clId="{DF9B0C05-CC4F-4882-87E9-3A37CA25A441}" dt="2021-10-29T09:22:47.491" v="400" actId="478"/>
          <ac:picMkLst>
            <pc:docMk/>
            <pc:sldMk cId="396023652" sldId="2146847386"/>
            <ac:picMk id="184" creationId="{FDBE0133-F0EE-48A5-8A81-B51FB336E165}"/>
          </ac:picMkLst>
        </pc:picChg>
        <pc:picChg chg="del">
          <ac:chgData name="Atkar, Devyani Anil" userId="30060140-18fd-4dc5-aee4-f2420943b387" providerId="ADAL" clId="{DF9B0C05-CC4F-4882-87E9-3A37CA25A441}" dt="2021-10-29T09:22:47.491" v="400" actId="478"/>
          <ac:picMkLst>
            <pc:docMk/>
            <pc:sldMk cId="396023652" sldId="2146847386"/>
            <ac:picMk id="185" creationId="{76E55731-AE69-4879-B8C8-7E298ACD3495}"/>
          </ac:picMkLst>
        </pc:picChg>
        <pc:picChg chg="del">
          <ac:chgData name="Atkar, Devyani Anil" userId="30060140-18fd-4dc5-aee4-f2420943b387" providerId="ADAL" clId="{DF9B0C05-CC4F-4882-87E9-3A37CA25A441}" dt="2021-10-29T09:22:47.491" v="400" actId="478"/>
          <ac:picMkLst>
            <pc:docMk/>
            <pc:sldMk cId="396023652" sldId="2146847386"/>
            <ac:picMk id="186" creationId="{E5956A4A-F346-4C17-9CB5-078A3967B0D8}"/>
          </ac:picMkLst>
        </pc:picChg>
        <pc:picChg chg="del">
          <ac:chgData name="Atkar, Devyani Anil" userId="30060140-18fd-4dc5-aee4-f2420943b387" providerId="ADAL" clId="{DF9B0C05-CC4F-4882-87E9-3A37CA25A441}" dt="2021-10-29T09:22:47.491" v="400" actId="478"/>
          <ac:picMkLst>
            <pc:docMk/>
            <pc:sldMk cId="396023652" sldId="2146847386"/>
            <ac:picMk id="187" creationId="{8F774576-147A-4C5B-B330-37F2D4CEC659}"/>
          </ac:picMkLst>
        </pc:picChg>
        <pc:picChg chg="del">
          <ac:chgData name="Atkar, Devyani Anil" userId="30060140-18fd-4dc5-aee4-f2420943b387" providerId="ADAL" clId="{DF9B0C05-CC4F-4882-87E9-3A37CA25A441}" dt="2021-10-29T09:22:47.491" v="400" actId="478"/>
          <ac:picMkLst>
            <pc:docMk/>
            <pc:sldMk cId="396023652" sldId="2146847386"/>
            <ac:picMk id="196" creationId="{D298542C-25B0-4D47-B3E2-1A26C105D693}"/>
          </ac:picMkLst>
        </pc:picChg>
        <pc:picChg chg="del">
          <ac:chgData name="Atkar, Devyani Anil" userId="30060140-18fd-4dc5-aee4-f2420943b387" providerId="ADAL" clId="{DF9B0C05-CC4F-4882-87E9-3A37CA25A441}" dt="2021-10-29T09:22:47.491" v="400" actId="478"/>
          <ac:picMkLst>
            <pc:docMk/>
            <pc:sldMk cId="396023652" sldId="2146847386"/>
            <ac:picMk id="198" creationId="{777DDB14-2385-43FA-9740-FCCEBA70FA28}"/>
          </ac:picMkLst>
        </pc:picChg>
        <pc:picChg chg="del">
          <ac:chgData name="Atkar, Devyani Anil" userId="30060140-18fd-4dc5-aee4-f2420943b387" providerId="ADAL" clId="{DF9B0C05-CC4F-4882-87E9-3A37CA25A441}" dt="2021-10-29T09:22:47.491" v="400" actId="478"/>
          <ac:picMkLst>
            <pc:docMk/>
            <pc:sldMk cId="396023652" sldId="2146847386"/>
            <ac:picMk id="199" creationId="{824D10C0-09FE-4C88-8665-611D4318DB55}"/>
          </ac:picMkLst>
        </pc:picChg>
        <pc:picChg chg="del">
          <ac:chgData name="Atkar, Devyani Anil" userId="30060140-18fd-4dc5-aee4-f2420943b387" providerId="ADAL" clId="{DF9B0C05-CC4F-4882-87E9-3A37CA25A441}" dt="2021-10-29T09:22:47.491" v="400" actId="478"/>
          <ac:picMkLst>
            <pc:docMk/>
            <pc:sldMk cId="396023652" sldId="2146847386"/>
            <ac:picMk id="201" creationId="{1AC91A52-C2BF-4D10-8B39-36A765B3C7C6}"/>
          </ac:picMkLst>
        </pc:picChg>
        <pc:picChg chg="del">
          <ac:chgData name="Atkar, Devyani Anil" userId="30060140-18fd-4dc5-aee4-f2420943b387" providerId="ADAL" clId="{DF9B0C05-CC4F-4882-87E9-3A37CA25A441}" dt="2021-10-29T09:22:47.491" v="400" actId="478"/>
          <ac:picMkLst>
            <pc:docMk/>
            <pc:sldMk cId="396023652" sldId="2146847386"/>
            <ac:picMk id="203" creationId="{4536C22D-B946-4DE0-8F46-954A0A4B8645}"/>
          </ac:picMkLst>
        </pc:picChg>
        <pc:picChg chg="del">
          <ac:chgData name="Atkar, Devyani Anil" userId="30060140-18fd-4dc5-aee4-f2420943b387" providerId="ADAL" clId="{DF9B0C05-CC4F-4882-87E9-3A37CA25A441}" dt="2021-10-29T09:22:47.491" v="400" actId="478"/>
          <ac:picMkLst>
            <pc:docMk/>
            <pc:sldMk cId="396023652" sldId="2146847386"/>
            <ac:picMk id="204" creationId="{EDCACDC0-0002-46DF-BDFE-A5E862BE14D7}"/>
          </ac:picMkLst>
        </pc:picChg>
        <pc:picChg chg="del">
          <ac:chgData name="Atkar, Devyani Anil" userId="30060140-18fd-4dc5-aee4-f2420943b387" providerId="ADAL" clId="{DF9B0C05-CC4F-4882-87E9-3A37CA25A441}" dt="2021-10-29T09:22:47.491" v="400" actId="478"/>
          <ac:picMkLst>
            <pc:docMk/>
            <pc:sldMk cId="396023652" sldId="2146847386"/>
            <ac:picMk id="205" creationId="{B467F167-3D54-4CE8-BBD1-30A26714A928}"/>
          </ac:picMkLst>
        </pc:picChg>
        <pc:picChg chg="del">
          <ac:chgData name="Atkar, Devyani Anil" userId="30060140-18fd-4dc5-aee4-f2420943b387" providerId="ADAL" clId="{DF9B0C05-CC4F-4882-87E9-3A37CA25A441}" dt="2021-10-29T09:22:47.491" v="400" actId="478"/>
          <ac:picMkLst>
            <pc:docMk/>
            <pc:sldMk cId="396023652" sldId="2146847386"/>
            <ac:picMk id="207" creationId="{6350FE1C-761C-457D-9FBC-0775D1931595}"/>
          </ac:picMkLst>
        </pc:picChg>
        <pc:picChg chg="del">
          <ac:chgData name="Atkar, Devyani Anil" userId="30060140-18fd-4dc5-aee4-f2420943b387" providerId="ADAL" clId="{DF9B0C05-CC4F-4882-87E9-3A37CA25A441}" dt="2021-10-29T09:22:47.491" v="400" actId="478"/>
          <ac:picMkLst>
            <pc:docMk/>
            <pc:sldMk cId="396023652" sldId="2146847386"/>
            <ac:picMk id="209" creationId="{57AA6120-6093-40B1-AE8E-B64DD9E63FF4}"/>
          </ac:picMkLst>
        </pc:picChg>
        <pc:picChg chg="del">
          <ac:chgData name="Atkar, Devyani Anil" userId="30060140-18fd-4dc5-aee4-f2420943b387" providerId="ADAL" clId="{DF9B0C05-CC4F-4882-87E9-3A37CA25A441}" dt="2021-10-29T09:22:47.491" v="400" actId="478"/>
          <ac:picMkLst>
            <pc:docMk/>
            <pc:sldMk cId="396023652" sldId="2146847386"/>
            <ac:picMk id="210" creationId="{C8F64395-0675-4D86-9780-DCBE076DDBCA}"/>
          </ac:picMkLst>
        </pc:picChg>
        <pc:picChg chg="del">
          <ac:chgData name="Atkar, Devyani Anil" userId="30060140-18fd-4dc5-aee4-f2420943b387" providerId="ADAL" clId="{DF9B0C05-CC4F-4882-87E9-3A37CA25A441}" dt="2021-10-29T09:22:47.491" v="400" actId="478"/>
          <ac:picMkLst>
            <pc:docMk/>
            <pc:sldMk cId="396023652" sldId="2146847386"/>
            <ac:picMk id="211" creationId="{DF21D896-1506-47DD-AC9F-7463D2130BA3}"/>
          </ac:picMkLst>
        </pc:picChg>
        <pc:picChg chg="del">
          <ac:chgData name="Atkar, Devyani Anil" userId="30060140-18fd-4dc5-aee4-f2420943b387" providerId="ADAL" clId="{DF9B0C05-CC4F-4882-87E9-3A37CA25A441}" dt="2021-10-29T09:22:47.491" v="400" actId="478"/>
          <ac:picMkLst>
            <pc:docMk/>
            <pc:sldMk cId="396023652" sldId="2146847386"/>
            <ac:picMk id="287" creationId="{063B0153-58D2-4553-8D89-4B7F3ACBB580}"/>
          </ac:picMkLst>
        </pc:picChg>
        <pc:picChg chg="del">
          <ac:chgData name="Atkar, Devyani Anil" userId="30060140-18fd-4dc5-aee4-f2420943b387" providerId="ADAL" clId="{DF9B0C05-CC4F-4882-87E9-3A37CA25A441}" dt="2021-10-29T09:22:47.491" v="400" actId="478"/>
          <ac:picMkLst>
            <pc:docMk/>
            <pc:sldMk cId="396023652" sldId="2146847386"/>
            <ac:picMk id="300" creationId="{754ADC08-AD5A-415B-AE18-94F7E91136C2}"/>
          </ac:picMkLst>
        </pc:picChg>
        <pc:picChg chg="del">
          <ac:chgData name="Atkar, Devyani Anil" userId="30060140-18fd-4dc5-aee4-f2420943b387" providerId="ADAL" clId="{DF9B0C05-CC4F-4882-87E9-3A37CA25A441}" dt="2021-10-29T09:22:47.491" v="400" actId="478"/>
          <ac:picMkLst>
            <pc:docMk/>
            <pc:sldMk cId="396023652" sldId="2146847386"/>
            <ac:picMk id="301" creationId="{D8B67A6C-50C3-44AE-BC10-A1D1353DA2F2}"/>
          </ac:picMkLst>
        </pc:picChg>
        <pc:picChg chg="del">
          <ac:chgData name="Atkar, Devyani Anil" userId="30060140-18fd-4dc5-aee4-f2420943b387" providerId="ADAL" clId="{DF9B0C05-CC4F-4882-87E9-3A37CA25A441}" dt="2021-10-29T09:22:47.491" v="400" actId="478"/>
          <ac:picMkLst>
            <pc:docMk/>
            <pc:sldMk cId="396023652" sldId="2146847386"/>
            <ac:picMk id="302" creationId="{27C99BE6-592A-471D-AF2B-3004501DB6CE}"/>
          </ac:picMkLst>
        </pc:picChg>
        <pc:picChg chg="del">
          <ac:chgData name="Atkar, Devyani Anil" userId="30060140-18fd-4dc5-aee4-f2420943b387" providerId="ADAL" clId="{DF9B0C05-CC4F-4882-87E9-3A37CA25A441}" dt="2021-10-29T09:22:47.491" v="400" actId="478"/>
          <ac:picMkLst>
            <pc:docMk/>
            <pc:sldMk cId="396023652" sldId="2146847386"/>
            <ac:picMk id="303" creationId="{1CC9865A-CFA2-488A-8B20-DC1F68F7C33D}"/>
          </ac:picMkLst>
        </pc:picChg>
        <pc:picChg chg="del">
          <ac:chgData name="Atkar, Devyani Anil" userId="30060140-18fd-4dc5-aee4-f2420943b387" providerId="ADAL" clId="{DF9B0C05-CC4F-4882-87E9-3A37CA25A441}" dt="2021-10-29T09:22:47.491" v="400" actId="478"/>
          <ac:picMkLst>
            <pc:docMk/>
            <pc:sldMk cId="396023652" sldId="2146847386"/>
            <ac:picMk id="304" creationId="{C3B36443-8260-4D89-8248-745CC3185CF9}"/>
          </ac:picMkLst>
        </pc:picChg>
        <pc:picChg chg="del">
          <ac:chgData name="Atkar, Devyani Anil" userId="30060140-18fd-4dc5-aee4-f2420943b387" providerId="ADAL" clId="{DF9B0C05-CC4F-4882-87E9-3A37CA25A441}" dt="2021-10-29T09:22:47.491" v="400" actId="478"/>
          <ac:picMkLst>
            <pc:docMk/>
            <pc:sldMk cId="396023652" sldId="2146847386"/>
            <ac:picMk id="305" creationId="{9B0B360E-6701-4394-B52A-2FF609598E70}"/>
          </ac:picMkLst>
        </pc:picChg>
        <pc:picChg chg="del">
          <ac:chgData name="Atkar, Devyani Anil" userId="30060140-18fd-4dc5-aee4-f2420943b387" providerId="ADAL" clId="{DF9B0C05-CC4F-4882-87E9-3A37CA25A441}" dt="2021-10-29T09:22:47.491" v="400" actId="478"/>
          <ac:picMkLst>
            <pc:docMk/>
            <pc:sldMk cId="396023652" sldId="2146847386"/>
            <ac:picMk id="306" creationId="{26354125-52DC-42A3-9E33-70974438BAC4}"/>
          </ac:picMkLst>
        </pc:picChg>
        <pc:picChg chg="del">
          <ac:chgData name="Atkar, Devyani Anil" userId="30060140-18fd-4dc5-aee4-f2420943b387" providerId="ADAL" clId="{DF9B0C05-CC4F-4882-87E9-3A37CA25A441}" dt="2021-10-29T09:22:47.491" v="400" actId="478"/>
          <ac:picMkLst>
            <pc:docMk/>
            <pc:sldMk cId="396023652" sldId="2146847386"/>
            <ac:picMk id="307" creationId="{E79DCA41-98A1-49F5-AAE0-72DD95303CEB}"/>
          </ac:picMkLst>
        </pc:picChg>
        <pc:picChg chg="del">
          <ac:chgData name="Atkar, Devyani Anil" userId="30060140-18fd-4dc5-aee4-f2420943b387" providerId="ADAL" clId="{DF9B0C05-CC4F-4882-87E9-3A37CA25A441}" dt="2021-10-29T09:22:47.491" v="400" actId="478"/>
          <ac:picMkLst>
            <pc:docMk/>
            <pc:sldMk cId="396023652" sldId="2146847386"/>
            <ac:picMk id="308" creationId="{F9E1F5F2-3079-4210-A3D8-26C9DF626653}"/>
          </ac:picMkLst>
        </pc:picChg>
        <pc:picChg chg="del">
          <ac:chgData name="Atkar, Devyani Anil" userId="30060140-18fd-4dc5-aee4-f2420943b387" providerId="ADAL" clId="{DF9B0C05-CC4F-4882-87E9-3A37CA25A441}" dt="2021-10-29T09:22:47.491" v="400" actId="478"/>
          <ac:picMkLst>
            <pc:docMk/>
            <pc:sldMk cId="396023652" sldId="2146847386"/>
            <ac:picMk id="309" creationId="{5212522A-8FA6-4CCA-8B18-698D914CD3F4}"/>
          </ac:picMkLst>
        </pc:picChg>
      </pc:sldChg>
      <pc:sldMasterChg chg="delSldLayout">
        <pc:chgData name="Atkar, Devyani Anil" userId="30060140-18fd-4dc5-aee4-f2420943b387" providerId="ADAL" clId="{DF9B0C05-CC4F-4882-87E9-3A37CA25A441}" dt="2021-10-20T09:06:18.629" v="206" actId="47"/>
        <pc:sldMasterMkLst>
          <pc:docMk/>
          <pc:sldMasterMk cId="99584796" sldId="2147483879"/>
        </pc:sldMasterMkLst>
        <pc:sldLayoutChg chg="del">
          <pc:chgData name="Atkar, Devyani Anil" userId="30060140-18fd-4dc5-aee4-f2420943b387" providerId="ADAL" clId="{DF9B0C05-CC4F-4882-87E9-3A37CA25A441}" dt="2021-10-20T09:06:18.629" v="206" actId="47"/>
          <pc:sldLayoutMkLst>
            <pc:docMk/>
            <pc:sldMasterMk cId="99584796" sldId="2147483879"/>
            <pc:sldLayoutMk cId="3934244542" sldId="2147483957"/>
          </pc:sldLayoutMkLst>
        </pc:sldLayoutChg>
      </pc:sldMasterChg>
      <pc:sldMasterChg chg="del delSldLayout">
        <pc:chgData name="Atkar, Devyani Anil" userId="30060140-18fd-4dc5-aee4-f2420943b387" providerId="ADAL" clId="{DF9B0C05-CC4F-4882-87E9-3A37CA25A441}" dt="2021-11-08T17:03:47.266" v="1099" actId="47"/>
        <pc:sldMasterMkLst>
          <pc:docMk/>
          <pc:sldMasterMk cId="4014707495" sldId="2147483904"/>
        </pc:sldMasterMkLst>
        <pc:sldLayoutChg chg="del">
          <pc:chgData name="Atkar, Devyani Anil" userId="30060140-18fd-4dc5-aee4-f2420943b387" providerId="ADAL" clId="{DF9B0C05-CC4F-4882-87E9-3A37CA25A441}" dt="2021-11-08T17:03:47.266" v="1099" actId="47"/>
          <pc:sldLayoutMkLst>
            <pc:docMk/>
            <pc:sldMasterMk cId="4014707495" sldId="2147483904"/>
            <pc:sldLayoutMk cId="3113209327" sldId="2147483905"/>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792344574" sldId="2147483906"/>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173506924" sldId="2147483907"/>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911369403" sldId="2147483908"/>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682753686" sldId="2147483909"/>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854185002" sldId="2147483910"/>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692342285" sldId="2147483911"/>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196691471" sldId="2147483912"/>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51884128" sldId="2147483913"/>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010649035" sldId="2147483914"/>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197190279" sldId="2147483915"/>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157883621" sldId="2147483916"/>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197722532" sldId="2147483917"/>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463220425" sldId="2147483918"/>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634764594" sldId="2147483919"/>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578974276" sldId="2147483920"/>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414735796" sldId="2147483921"/>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339951788" sldId="2147483922"/>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741038375" sldId="2147483923"/>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180647231" sldId="2147483924"/>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876998229" sldId="2147483925"/>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840841859" sldId="2147483926"/>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543983269" sldId="2147483927"/>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768147114" sldId="2147483928"/>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4226995094" sldId="2147483929"/>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219446607" sldId="2147483930"/>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284165343" sldId="2147483931"/>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043948234" sldId="2147483932"/>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587346952" sldId="2147483933"/>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815751056" sldId="2147483934"/>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146519088" sldId="2147483935"/>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890847706" sldId="2147483936"/>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922876772" sldId="2147483937"/>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729925439" sldId="2147483938"/>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112159407" sldId="2147483939"/>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623287671" sldId="2147483940"/>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713703568" sldId="2147483941"/>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083298732" sldId="2147483942"/>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081846283" sldId="2147483943"/>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955856774" sldId="2147483944"/>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407765060" sldId="2147483945"/>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472589764" sldId="2147483946"/>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524126305" sldId="2147483947"/>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551484096" sldId="2147483948"/>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480051341" sldId="2147483949"/>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516831861" sldId="2147483950"/>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236030629" sldId="2147483951"/>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784762447" sldId="2147483952"/>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2692862111" sldId="2147483953"/>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3929222655" sldId="2147483954"/>
          </pc:sldLayoutMkLst>
        </pc:sldLayoutChg>
        <pc:sldLayoutChg chg="del">
          <pc:chgData name="Atkar, Devyani Anil" userId="30060140-18fd-4dc5-aee4-f2420943b387" providerId="ADAL" clId="{DF9B0C05-CC4F-4882-87E9-3A37CA25A441}" dt="2021-11-08T17:03:47.266" v="1099" actId="47"/>
          <pc:sldLayoutMkLst>
            <pc:docMk/>
            <pc:sldMasterMk cId="4014707495" sldId="2147483904"/>
            <pc:sldLayoutMk cId="1653757490" sldId="2147483955"/>
          </pc:sldLayoutMkLst>
        </pc:sldLayoutChg>
      </pc:sldMasterChg>
      <pc:sldMasterChg chg="delSldLayout">
        <pc:chgData name="Atkar, Devyani Anil" userId="30060140-18fd-4dc5-aee4-f2420943b387" providerId="ADAL" clId="{DF9B0C05-CC4F-4882-87E9-3A37CA25A441}" dt="2021-10-29T09:12:48.363" v="385" actId="47"/>
        <pc:sldMasterMkLst>
          <pc:docMk/>
          <pc:sldMasterMk cId="1343582804" sldId="2147483958"/>
        </pc:sldMasterMkLst>
        <pc:sldLayoutChg chg="del">
          <pc:chgData name="Atkar, Devyani Anil" userId="30060140-18fd-4dc5-aee4-f2420943b387" providerId="ADAL" clId="{DF9B0C05-CC4F-4882-87E9-3A37CA25A441}" dt="2021-10-29T09:12:48.363" v="385" actId="47"/>
          <pc:sldLayoutMkLst>
            <pc:docMk/>
            <pc:sldMasterMk cId="1343582804" sldId="2147483958"/>
            <pc:sldLayoutMk cId="2143131504" sldId="2147483972"/>
          </pc:sldLayoutMkLst>
        </pc:sldLayoutChg>
      </pc:sldMasterChg>
      <pc:sldMasterChg chg="del delSldLayout">
        <pc:chgData name="Atkar, Devyani Anil" userId="30060140-18fd-4dc5-aee4-f2420943b387" providerId="ADAL" clId="{DF9B0C05-CC4F-4882-87E9-3A37CA25A441}" dt="2021-10-29T09:12:49.054" v="386" actId="47"/>
        <pc:sldMasterMkLst>
          <pc:docMk/>
          <pc:sldMasterMk cId="936855146" sldId="2147483973"/>
        </pc:sldMasterMkLst>
        <pc:sldLayoutChg chg="del">
          <pc:chgData name="Atkar, Devyani Anil" userId="30060140-18fd-4dc5-aee4-f2420943b387" providerId="ADAL" clId="{DF9B0C05-CC4F-4882-87E9-3A37CA25A441}" dt="2021-10-29T09:12:49.054" v="386" actId="47"/>
          <pc:sldLayoutMkLst>
            <pc:docMk/>
            <pc:sldMasterMk cId="936855146" sldId="2147483973"/>
            <pc:sldLayoutMk cId="745795619" sldId="2147483974"/>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2209764801" sldId="2147483975"/>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946136896" sldId="2147483976"/>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497531710" sldId="2147483977"/>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2407520582" sldId="2147483978"/>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1372450685" sldId="2147483979"/>
          </pc:sldLayoutMkLst>
        </pc:sldLayoutChg>
        <pc:sldLayoutChg chg="del">
          <pc:chgData name="Atkar, Devyani Anil" userId="30060140-18fd-4dc5-aee4-f2420943b387" providerId="ADAL" clId="{DF9B0C05-CC4F-4882-87E9-3A37CA25A441}" dt="2021-10-29T09:12:49.054" v="386" actId="47"/>
          <pc:sldLayoutMkLst>
            <pc:docMk/>
            <pc:sldMasterMk cId="936855146" sldId="2147483973"/>
            <pc:sldLayoutMk cId="1494594496" sldId="2147483980"/>
          </pc:sldLayoutMkLst>
        </pc:sldLayoutChg>
      </pc:sldMasterChg>
    </pc:docChg>
  </pc:docChgLst>
  <pc:docChgLst>
    <pc:chgData name="Atkar, Devyani Anil" userId="30060140-18fd-4dc5-aee4-f2420943b387" providerId="ADAL" clId="{12D9E775-8A3D-486F-BF68-F62B17BF775E}"/>
    <pc:docChg chg="custSel modSld">
      <pc:chgData name="Atkar, Devyani Anil" userId="30060140-18fd-4dc5-aee4-f2420943b387" providerId="ADAL" clId="{12D9E775-8A3D-486F-BF68-F62B17BF775E}" dt="2022-12-26T11:24:29.055" v="29" actId="20577"/>
      <pc:docMkLst>
        <pc:docMk/>
      </pc:docMkLst>
      <pc:sldChg chg="addSp delSp modSp mod">
        <pc:chgData name="Atkar, Devyani Anil" userId="30060140-18fd-4dc5-aee4-f2420943b387" providerId="ADAL" clId="{12D9E775-8A3D-486F-BF68-F62B17BF775E}" dt="2022-12-26T11:24:29.055" v="29" actId="20577"/>
        <pc:sldMkLst>
          <pc:docMk/>
          <pc:sldMk cId="4011072619" sldId="2146847328"/>
        </pc:sldMkLst>
        <pc:spChg chg="add del mod">
          <ac:chgData name="Atkar, Devyani Anil" userId="30060140-18fd-4dc5-aee4-f2420943b387" providerId="ADAL" clId="{12D9E775-8A3D-486F-BF68-F62B17BF775E}" dt="2022-12-26T11:24:15.919" v="27" actId="478"/>
          <ac:spMkLst>
            <pc:docMk/>
            <pc:sldMk cId="4011072619" sldId="2146847328"/>
            <ac:spMk id="4" creationId="{44D75C30-EC2C-4E74-808A-8F6ADDE34FB6}"/>
          </ac:spMkLst>
        </pc:spChg>
        <pc:spChg chg="mod">
          <ac:chgData name="Atkar, Devyani Anil" userId="30060140-18fd-4dc5-aee4-f2420943b387" providerId="ADAL" clId="{12D9E775-8A3D-486F-BF68-F62B17BF775E}" dt="2022-12-26T11:24:01.654" v="6" actId="20577"/>
          <ac:spMkLst>
            <pc:docMk/>
            <pc:sldMk cId="4011072619" sldId="2146847328"/>
            <ac:spMk id="10" creationId="{744037D0-53EE-4908-9B4E-4AF6F7093968}"/>
          </ac:spMkLst>
        </pc:spChg>
        <pc:spChg chg="del">
          <ac:chgData name="Atkar, Devyani Anil" userId="30060140-18fd-4dc5-aee4-f2420943b387" providerId="ADAL" clId="{12D9E775-8A3D-486F-BF68-F62B17BF775E}" dt="2022-12-26T11:24:13.426" v="25" actId="478"/>
          <ac:spMkLst>
            <pc:docMk/>
            <pc:sldMk cId="4011072619" sldId="2146847328"/>
            <ac:spMk id="11" creationId="{E974DCD8-991C-4DF3-A782-F5D6E1590C34}"/>
          </ac:spMkLst>
        </pc:spChg>
        <pc:spChg chg="add mod">
          <ac:chgData name="Atkar, Devyani Anil" userId="30060140-18fd-4dc5-aee4-f2420943b387" providerId="ADAL" clId="{12D9E775-8A3D-486F-BF68-F62B17BF775E}" dt="2022-12-26T11:24:26.496" v="28"/>
          <ac:spMkLst>
            <pc:docMk/>
            <pc:sldMk cId="4011072619" sldId="2146847328"/>
            <ac:spMk id="20" creationId="{74309ECA-A32F-4E39-97A4-606C702D27F4}"/>
          </ac:spMkLst>
        </pc:spChg>
        <pc:spChg chg="add mod">
          <ac:chgData name="Atkar, Devyani Anil" userId="30060140-18fd-4dc5-aee4-f2420943b387" providerId="ADAL" clId="{12D9E775-8A3D-486F-BF68-F62B17BF775E}" dt="2022-12-26T11:24:26.496" v="28"/>
          <ac:spMkLst>
            <pc:docMk/>
            <pc:sldMk cId="4011072619" sldId="2146847328"/>
            <ac:spMk id="21" creationId="{E6EFF406-9A47-4E02-9378-F14D333BD86C}"/>
          </ac:spMkLst>
        </pc:spChg>
        <pc:spChg chg="add mod">
          <ac:chgData name="Atkar, Devyani Anil" userId="30060140-18fd-4dc5-aee4-f2420943b387" providerId="ADAL" clId="{12D9E775-8A3D-486F-BF68-F62B17BF775E}" dt="2022-12-26T11:24:26.496" v="28"/>
          <ac:spMkLst>
            <pc:docMk/>
            <pc:sldMk cId="4011072619" sldId="2146847328"/>
            <ac:spMk id="22" creationId="{EDAD4A88-B109-4AF6-B1A0-B32702440170}"/>
          </ac:spMkLst>
        </pc:spChg>
        <pc:spChg chg="add mod">
          <ac:chgData name="Atkar, Devyani Anil" userId="30060140-18fd-4dc5-aee4-f2420943b387" providerId="ADAL" clId="{12D9E775-8A3D-486F-BF68-F62B17BF775E}" dt="2022-12-26T11:24:29.055" v="29" actId="20577"/>
          <ac:spMkLst>
            <pc:docMk/>
            <pc:sldMk cId="4011072619" sldId="2146847328"/>
            <ac:spMk id="23" creationId="{5963C099-DC52-4361-9A8D-63C71AD2D4F2}"/>
          </ac:spMkLst>
        </pc:spChg>
        <pc:spChg chg="del">
          <ac:chgData name="Atkar, Devyani Anil" userId="30060140-18fd-4dc5-aee4-f2420943b387" providerId="ADAL" clId="{12D9E775-8A3D-486F-BF68-F62B17BF775E}" dt="2022-12-26T11:24:13.426" v="25" actId="478"/>
          <ac:spMkLst>
            <pc:docMk/>
            <pc:sldMk cId="4011072619" sldId="2146847328"/>
            <ac:spMk id="50" creationId="{EDA2DFD3-14BA-4D5E-8A18-469A0CEA0E07}"/>
          </ac:spMkLst>
        </pc:spChg>
        <pc:cxnChg chg="mod">
          <ac:chgData name="Atkar, Devyani Anil" userId="30060140-18fd-4dc5-aee4-f2420943b387" providerId="ADAL" clId="{12D9E775-8A3D-486F-BF68-F62B17BF775E}" dt="2022-12-26T11:24:07.460" v="24" actId="1035"/>
          <ac:cxnSpMkLst>
            <pc:docMk/>
            <pc:sldMk cId="4011072619" sldId="2146847328"/>
            <ac:cxnSpMk id="490" creationId="{9EE4DF0A-A9F1-45D6-B212-A15509D16E9D}"/>
          </ac:cxnSpMkLst>
        </pc:cxnChg>
      </pc:sldChg>
    </pc:docChg>
  </pc:docChgLst>
  <pc:docChgLst>
    <pc:chgData name="Atkar, Devyani Anil" userId="30060140-18fd-4dc5-aee4-f2420943b387" providerId="ADAL" clId="{E02E4500-50CF-4733-B81E-88D2BD7F6830}"/>
    <pc:docChg chg="undo custSel addSld modSld">
      <pc:chgData name="Atkar, Devyani Anil" userId="30060140-18fd-4dc5-aee4-f2420943b387" providerId="ADAL" clId="{E02E4500-50CF-4733-B81E-88D2BD7F6830}" dt="2022-01-19T10:34:55.707" v="1587" actId="6549"/>
      <pc:docMkLst>
        <pc:docMk/>
      </pc:docMkLst>
      <pc:sldChg chg="modSp mod">
        <pc:chgData name="Atkar, Devyani Anil" userId="30060140-18fd-4dc5-aee4-f2420943b387" providerId="ADAL" clId="{E02E4500-50CF-4733-B81E-88D2BD7F6830}" dt="2022-01-17T10:11:53.062" v="0" actId="1076"/>
        <pc:sldMkLst>
          <pc:docMk/>
          <pc:sldMk cId="3350460562" sldId="2146846959"/>
        </pc:sldMkLst>
        <pc:picChg chg="mod">
          <ac:chgData name="Atkar, Devyani Anil" userId="30060140-18fd-4dc5-aee4-f2420943b387" providerId="ADAL" clId="{E02E4500-50CF-4733-B81E-88D2BD7F6830}" dt="2022-01-17T10:11:53.062" v="0" actId="1076"/>
          <ac:picMkLst>
            <pc:docMk/>
            <pc:sldMk cId="3350460562" sldId="2146846959"/>
            <ac:picMk id="53" creationId="{C93FE63C-66AA-413D-B089-CF5415620573}"/>
          </ac:picMkLst>
        </pc:picChg>
      </pc:sldChg>
      <pc:sldChg chg="addSp delSp modSp mod">
        <pc:chgData name="Atkar, Devyani Anil" userId="30060140-18fd-4dc5-aee4-f2420943b387" providerId="ADAL" clId="{E02E4500-50CF-4733-B81E-88D2BD7F6830}" dt="2022-01-19T10:21:46.137" v="1358" actId="6549"/>
        <pc:sldMkLst>
          <pc:docMk/>
          <pc:sldMk cId="1760734549" sldId="2146847363"/>
        </pc:sldMkLst>
        <pc:spChg chg="mod">
          <ac:chgData name="Atkar, Devyani Anil" userId="30060140-18fd-4dc5-aee4-f2420943b387" providerId="ADAL" clId="{E02E4500-50CF-4733-B81E-88D2BD7F6830}" dt="2022-01-18T12:24:13.092" v="741" actId="1035"/>
          <ac:spMkLst>
            <pc:docMk/>
            <pc:sldMk cId="1760734549" sldId="2146847363"/>
            <ac:spMk id="2" creationId="{98DEF4BE-89FE-4B38-9249-A50705FB9524}"/>
          </ac:spMkLst>
        </pc:spChg>
        <pc:spChg chg="mod">
          <ac:chgData name="Atkar, Devyani Anil" userId="30060140-18fd-4dc5-aee4-f2420943b387" providerId="ADAL" clId="{E02E4500-50CF-4733-B81E-88D2BD7F6830}" dt="2022-01-18T12:24:22.176" v="751" actId="1035"/>
          <ac:spMkLst>
            <pc:docMk/>
            <pc:sldMk cId="1760734549" sldId="2146847363"/>
            <ac:spMk id="4" creationId="{B38B14AF-B49F-41F5-8E26-05096D2E63C3}"/>
          </ac:spMkLst>
        </pc:spChg>
        <pc:spChg chg="mod">
          <ac:chgData name="Atkar, Devyani Anil" userId="30060140-18fd-4dc5-aee4-f2420943b387" providerId="ADAL" clId="{E02E4500-50CF-4733-B81E-88D2BD7F6830}" dt="2022-01-18T12:28:01.192" v="846" actId="14100"/>
          <ac:spMkLst>
            <pc:docMk/>
            <pc:sldMk cId="1760734549" sldId="2146847363"/>
            <ac:spMk id="13" creationId="{D77DC8D4-9E3B-4E17-82AD-FD6C83141CDD}"/>
          </ac:spMkLst>
        </pc:spChg>
        <pc:spChg chg="mod">
          <ac:chgData name="Atkar, Devyani Anil" userId="30060140-18fd-4dc5-aee4-f2420943b387" providerId="ADAL" clId="{E02E4500-50CF-4733-B81E-88D2BD7F6830}" dt="2022-01-18T12:27:45.779" v="839" actId="14100"/>
          <ac:spMkLst>
            <pc:docMk/>
            <pc:sldMk cId="1760734549" sldId="2146847363"/>
            <ac:spMk id="14" creationId="{4C76733A-C760-4BDA-A080-3216B1126CAA}"/>
          </ac:spMkLst>
        </pc:spChg>
        <pc:spChg chg="mod">
          <ac:chgData name="Atkar, Devyani Anil" userId="30060140-18fd-4dc5-aee4-f2420943b387" providerId="ADAL" clId="{E02E4500-50CF-4733-B81E-88D2BD7F6830}" dt="2022-01-18T12:27:45.779" v="839" actId="14100"/>
          <ac:spMkLst>
            <pc:docMk/>
            <pc:sldMk cId="1760734549" sldId="2146847363"/>
            <ac:spMk id="15" creationId="{544DE2AC-7B58-4A86-A0F9-1BDC883F2C85}"/>
          </ac:spMkLst>
        </pc:spChg>
        <pc:spChg chg="mod">
          <ac:chgData name="Atkar, Devyani Anil" userId="30060140-18fd-4dc5-aee4-f2420943b387" providerId="ADAL" clId="{E02E4500-50CF-4733-B81E-88D2BD7F6830}" dt="2022-01-18T12:27:45.779" v="839" actId="14100"/>
          <ac:spMkLst>
            <pc:docMk/>
            <pc:sldMk cId="1760734549" sldId="2146847363"/>
            <ac:spMk id="19" creationId="{B83DA935-4FC8-41C1-92AE-C313A09EF61D}"/>
          </ac:spMkLst>
        </pc:spChg>
        <pc:spChg chg="add del mod">
          <ac:chgData name="Atkar, Devyani Anil" userId="30060140-18fd-4dc5-aee4-f2420943b387" providerId="ADAL" clId="{E02E4500-50CF-4733-B81E-88D2BD7F6830}" dt="2022-01-18T12:24:15.583" v="742" actId="478"/>
          <ac:spMkLst>
            <pc:docMk/>
            <pc:sldMk cId="1760734549" sldId="2146847363"/>
            <ac:spMk id="20" creationId="{DB9ABE44-4E27-4E4D-8146-397FC514A366}"/>
          </ac:spMkLst>
        </pc:spChg>
        <pc:spChg chg="add del mod">
          <ac:chgData name="Atkar, Devyani Anil" userId="30060140-18fd-4dc5-aee4-f2420943b387" providerId="ADAL" clId="{E02E4500-50CF-4733-B81E-88D2BD7F6830}" dt="2022-01-18T12:24:15.583" v="742" actId="478"/>
          <ac:spMkLst>
            <pc:docMk/>
            <pc:sldMk cId="1760734549" sldId="2146847363"/>
            <ac:spMk id="21" creationId="{10036428-5871-4747-8EE8-FCF81FD54630}"/>
          </ac:spMkLst>
        </pc:spChg>
        <pc:spChg chg="add mod">
          <ac:chgData name="Atkar, Devyani Anil" userId="30060140-18fd-4dc5-aee4-f2420943b387" providerId="ADAL" clId="{E02E4500-50CF-4733-B81E-88D2BD7F6830}" dt="2022-01-18T12:27:51.736" v="844" actId="1035"/>
          <ac:spMkLst>
            <pc:docMk/>
            <pc:sldMk cId="1760734549" sldId="2146847363"/>
            <ac:spMk id="22" creationId="{FAF0DFE7-D588-42EE-A928-957A4390272A}"/>
          </ac:spMkLst>
        </pc:spChg>
        <pc:spChg chg="add mod">
          <ac:chgData name="Atkar, Devyani Anil" userId="30060140-18fd-4dc5-aee4-f2420943b387" providerId="ADAL" clId="{E02E4500-50CF-4733-B81E-88D2BD7F6830}" dt="2022-01-18T12:27:51.736" v="844" actId="1035"/>
          <ac:spMkLst>
            <pc:docMk/>
            <pc:sldMk cId="1760734549" sldId="2146847363"/>
            <ac:spMk id="23" creationId="{A88813E3-583E-48BA-A1EA-8D092B6ED038}"/>
          </ac:spMkLst>
        </pc:spChg>
        <pc:spChg chg="add del mod">
          <ac:chgData name="Atkar, Devyani Anil" userId="30060140-18fd-4dc5-aee4-f2420943b387" providerId="ADAL" clId="{E02E4500-50CF-4733-B81E-88D2BD7F6830}" dt="2022-01-18T12:28:37.887" v="860" actId="478"/>
          <ac:spMkLst>
            <pc:docMk/>
            <pc:sldMk cId="1760734549" sldId="2146847363"/>
            <ac:spMk id="24" creationId="{5713E083-5B90-4FEF-AF03-E87C584BD3A1}"/>
          </ac:spMkLst>
        </pc:spChg>
        <pc:spChg chg="add del mod">
          <ac:chgData name="Atkar, Devyani Anil" userId="30060140-18fd-4dc5-aee4-f2420943b387" providerId="ADAL" clId="{E02E4500-50CF-4733-B81E-88D2BD7F6830}" dt="2022-01-18T12:28:37.887" v="860" actId="478"/>
          <ac:spMkLst>
            <pc:docMk/>
            <pc:sldMk cId="1760734549" sldId="2146847363"/>
            <ac:spMk id="25" creationId="{6DD06B9E-F026-4590-86EA-1F3F3335795C}"/>
          </ac:spMkLst>
        </pc:spChg>
        <pc:spChg chg="mod">
          <ac:chgData name="Atkar, Devyani Anil" userId="30060140-18fd-4dc5-aee4-f2420943b387" providerId="ADAL" clId="{E02E4500-50CF-4733-B81E-88D2BD7F6830}" dt="2022-01-18T12:27:45.779" v="839" actId="14100"/>
          <ac:spMkLst>
            <pc:docMk/>
            <pc:sldMk cId="1760734549" sldId="2146847363"/>
            <ac:spMk id="33" creationId="{54FD6896-CB7B-4246-8EE6-167FEC047C04}"/>
          </ac:spMkLst>
        </pc:spChg>
        <pc:spChg chg="mod">
          <ac:chgData name="Atkar, Devyani Anil" userId="30060140-18fd-4dc5-aee4-f2420943b387" providerId="ADAL" clId="{E02E4500-50CF-4733-B81E-88D2BD7F6830}" dt="2022-01-18T12:27:45.779" v="839" actId="14100"/>
          <ac:spMkLst>
            <pc:docMk/>
            <pc:sldMk cId="1760734549" sldId="2146847363"/>
            <ac:spMk id="34" creationId="{A1AE4217-AA23-448A-9004-B8AFA0C93F54}"/>
          </ac:spMkLst>
        </pc:spChg>
        <pc:spChg chg="mod">
          <ac:chgData name="Atkar, Devyani Anil" userId="30060140-18fd-4dc5-aee4-f2420943b387" providerId="ADAL" clId="{E02E4500-50CF-4733-B81E-88D2BD7F6830}" dt="2022-01-18T12:27:45.779" v="839" actId="14100"/>
          <ac:spMkLst>
            <pc:docMk/>
            <pc:sldMk cId="1760734549" sldId="2146847363"/>
            <ac:spMk id="35" creationId="{4E58F28A-8086-4215-ADA6-DD66FC3BE587}"/>
          </ac:spMkLst>
        </pc:spChg>
        <pc:spChg chg="mod">
          <ac:chgData name="Atkar, Devyani Anil" userId="30060140-18fd-4dc5-aee4-f2420943b387" providerId="ADAL" clId="{E02E4500-50CF-4733-B81E-88D2BD7F6830}" dt="2022-01-18T12:27:51.736" v="844" actId="1035"/>
          <ac:spMkLst>
            <pc:docMk/>
            <pc:sldMk cId="1760734549" sldId="2146847363"/>
            <ac:spMk id="36" creationId="{CB920E0A-295B-47B9-882B-000DCDD20F18}"/>
          </ac:spMkLst>
        </pc:spChg>
        <pc:spChg chg="mod">
          <ac:chgData name="Atkar, Devyani Anil" userId="30060140-18fd-4dc5-aee4-f2420943b387" providerId="ADAL" clId="{E02E4500-50CF-4733-B81E-88D2BD7F6830}" dt="2022-01-18T12:27:45.779" v="839" actId="14100"/>
          <ac:spMkLst>
            <pc:docMk/>
            <pc:sldMk cId="1760734549" sldId="2146847363"/>
            <ac:spMk id="37" creationId="{CB4B2606-EC40-4D1B-B58C-4FDFB1D0414B}"/>
          </ac:spMkLst>
        </pc:spChg>
        <pc:spChg chg="mod">
          <ac:chgData name="Atkar, Devyani Anil" userId="30060140-18fd-4dc5-aee4-f2420943b387" providerId="ADAL" clId="{E02E4500-50CF-4733-B81E-88D2BD7F6830}" dt="2022-01-18T12:27:45.779" v="839" actId="14100"/>
          <ac:spMkLst>
            <pc:docMk/>
            <pc:sldMk cId="1760734549" sldId="2146847363"/>
            <ac:spMk id="38" creationId="{6CBD3D34-1F88-429C-8139-BBC6860F2CCA}"/>
          </ac:spMkLst>
        </pc:spChg>
        <pc:spChg chg="mod">
          <ac:chgData name="Atkar, Devyani Anil" userId="30060140-18fd-4dc5-aee4-f2420943b387" providerId="ADAL" clId="{E02E4500-50CF-4733-B81E-88D2BD7F6830}" dt="2022-01-18T12:27:51.736" v="844" actId="1035"/>
          <ac:spMkLst>
            <pc:docMk/>
            <pc:sldMk cId="1760734549" sldId="2146847363"/>
            <ac:spMk id="39" creationId="{39563CEA-1065-4C65-B3B4-F5C56F2AD955}"/>
          </ac:spMkLst>
        </pc:spChg>
        <pc:spChg chg="mod">
          <ac:chgData name="Atkar, Devyani Anil" userId="30060140-18fd-4dc5-aee4-f2420943b387" providerId="ADAL" clId="{E02E4500-50CF-4733-B81E-88D2BD7F6830}" dt="2022-01-18T12:27:51.736" v="844" actId="1035"/>
          <ac:spMkLst>
            <pc:docMk/>
            <pc:sldMk cId="1760734549" sldId="2146847363"/>
            <ac:spMk id="41" creationId="{D93E3073-9D08-43FF-90D0-46923245C628}"/>
          </ac:spMkLst>
        </pc:spChg>
        <pc:spChg chg="mod">
          <ac:chgData name="Atkar, Devyani Anil" userId="30060140-18fd-4dc5-aee4-f2420943b387" providerId="ADAL" clId="{E02E4500-50CF-4733-B81E-88D2BD7F6830}" dt="2022-01-18T12:27:51.736" v="844" actId="1035"/>
          <ac:spMkLst>
            <pc:docMk/>
            <pc:sldMk cId="1760734549" sldId="2146847363"/>
            <ac:spMk id="42" creationId="{6139345E-9A9B-42F1-9331-546A707AC335}"/>
          </ac:spMkLst>
        </pc:spChg>
        <pc:spChg chg="mod">
          <ac:chgData name="Atkar, Devyani Anil" userId="30060140-18fd-4dc5-aee4-f2420943b387" providerId="ADAL" clId="{E02E4500-50CF-4733-B81E-88D2BD7F6830}" dt="2022-01-18T12:27:51.736" v="844" actId="1035"/>
          <ac:spMkLst>
            <pc:docMk/>
            <pc:sldMk cId="1760734549" sldId="2146847363"/>
            <ac:spMk id="43" creationId="{B8281765-7A6B-4747-AAE2-86B1472B8C8F}"/>
          </ac:spMkLst>
        </pc:spChg>
        <pc:graphicFrameChg chg="mod modGraphic">
          <ac:chgData name="Atkar, Devyani Anil" userId="30060140-18fd-4dc5-aee4-f2420943b387" providerId="ADAL" clId="{E02E4500-50CF-4733-B81E-88D2BD7F6830}" dt="2022-01-19T10:21:46.137" v="1358" actId="6549"/>
          <ac:graphicFrameMkLst>
            <pc:docMk/>
            <pc:sldMk cId="1760734549" sldId="2146847363"/>
            <ac:graphicFrameMk id="12" creationId="{18069194-4058-49E6-BA4C-7954C0646E61}"/>
          </ac:graphicFrameMkLst>
        </pc:graphicFrameChg>
      </pc:sldChg>
      <pc:sldChg chg="addSp modSp mod">
        <pc:chgData name="Atkar, Devyani Anil" userId="30060140-18fd-4dc5-aee4-f2420943b387" providerId="ADAL" clId="{E02E4500-50CF-4733-B81E-88D2BD7F6830}" dt="2022-01-18T12:17:32.687" v="677" actId="207"/>
        <pc:sldMkLst>
          <pc:docMk/>
          <pc:sldMk cId="1883859609" sldId="2146847370"/>
        </pc:sldMkLst>
        <pc:spChg chg="mod">
          <ac:chgData name="Atkar, Devyani Anil" userId="30060140-18fd-4dc5-aee4-f2420943b387" providerId="ADAL" clId="{E02E4500-50CF-4733-B81E-88D2BD7F6830}" dt="2022-01-18T12:14:18.878" v="514" actId="1076"/>
          <ac:spMkLst>
            <pc:docMk/>
            <pc:sldMk cId="1883859609" sldId="2146847370"/>
            <ac:spMk id="13" creationId="{870B34B6-8B6C-496D-A3E4-FE2AAEEE9E8F}"/>
          </ac:spMkLst>
        </pc:spChg>
        <pc:spChg chg="add mod">
          <ac:chgData name="Atkar, Devyani Anil" userId="30060140-18fd-4dc5-aee4-f2420943b387" providerId="ADAL" clId="{E02E4500-50CF-4733-B81E-88D2BD7F6830}" dt="2022-01-18T12:15:18.724" v="578" actId="554"/>
          <ac:spMkLst>
            <pc:docMk/>
            <pc:sldMk cId="1883859609" sldId="2146847370"/>
            <ac:spMk id="15" creationId="{718A5292-A3AE-4ADA-9419-ABEA40A06D05}"/>
          </ac:spMkLst>
        </pc:spChg>
        <pc:spChg chg="mod">
          <ac:chgData name="Atkar, Devyani Anil" userId="30060140-18fd-4dc5-aee4-f2420943b387" providerId="ADAL" clId="{E02E4500-50CF-4733-B81E-88D2BD7F6830}" dt="2022-01-18T12:15:18.724" v="578" actId="554"/>
          <ac:spMkLst>
            <pc:docMk/>
            <pc:sldMk cId="1883859609" sldId="2146847370"/>
            <ac:spMk id="23" creationId="{81395D6B-72EA-4F2F-8A16-1D6E8D1D0909}"/>
          </ac:spMkLst>
        </pc:spChg>
        <pc:spChg chg="mod">
          <ac:chgData name="Atkar, Devyani Anil" userId="30060140-18fd-4dc5-aee4-f2420943b387" providerId="ADAL" clId="{E02E4500-50CF-4733-B81E-88D2BD7F6830}" dt="2022-01-18T12:15:18.724" v="578" actId="554"/>
          <ac:spMkLst>
            <pc:docMk/>
            <pc:sldMk cId="1883859609" sldId="2146847370"/>
            <ac:spMk id="24" creationId="{2F480C57-FD87-4E97-B19D-BA6BB47743DC}"/>
          </ac:spMkLst>
        </pc:spChg>
        <pc:spChg chg="mod">
          <ac:chgData name="Atkar, Devyani Anil" userId="30060140-18fd-4dc5-aee4-f2420943b387" providerId="ADAL" clId="{E02E4500-50CF-4733-B81E-88D2BD7F6830}" dt="2022-01-18T12:15:18.724" v="578" actId="554"/>
          <ac:spMkLst>
            <pc:docMk/>
            <pc:sldMk cId="1883859609" sldId="2146847370"/>
            <ac:spMk id="25" creationId="{90C18AFE-56BE-4E82-B97C-FBCA678AA3C3}"/>
          </ac:spMkLst>
        </pc:spChg>
        <pc:spChg chg="mod">
          <ac:chgData name="Atkar, Devyani Anil" userId="30060140-18fd-4dc5-aee4-f2420943b387" providerId="ADAL" clId="{E02E4500-50CF-4733-B81E-88D2BD7F6830}" dt="2022-01-18T12:15:18.724" v="578" actId="554"/>
          <ac:spMkLst>
            <pc:docMk/>
            <pc:sldMk cId="1883859609" sldId="2146847370"/>
            <ac:spMk id="26" creationId="{F16C31FB-FE00-45DB-8467-4C90C8A2AF90}"/>
          </ac:spMkLst>
        </pc:spChg>
        <pc:spChg chg="mod">
          <ac:chgData name="Atkar, Devyani Anil" userId="30060140-18fd-4dc5-aee4-f2420943b387" providerId="ADAL" clId="{E02E4500-50CF-4733-B81E-88D2BD7F6830}" dt="2022-01-18T12:15:18.724" v="578" actId="554"/>
          <ac:spMkLst>
            <pc:docMk/>
            <pc:sldMk cId="1883859609" sldId="2146847370"/>
            <ac:spMk id="27" creationId="{189386EC-7F9A-48A2-AF2E-5DAAF567D567}"/>
          </ac:spMkLst>
        </pc:spChg>
        <pc:spChg chg="mod">
          <ac:chgData name="Atkar, Devyani Anil" userId="30060140-18fd-4dc5-aee4-f2420943b387" providerId="ADAL" clId="{E02E4500-50CF-4733-B81E-88D2BD7F6830}" dt="2022-01-18T12:15:18.724" v="578" actId="554"/>
          <ac:spMkLst>
            <pc:docMk/>
            <pc:sldMk cId="1883859609" sldId="2146847370"/>
            <ac:spMk id="28" creationId="{08A86090-D253-4021-BC7F-B68E560C25D4}"/>
          </ac:spMkLst>
        </pc:spChg>
        <pc:spChg chg="mod">
          <ac:chgData name="Atkar, Devyani Anil" userId="30060140-18fd-4dc5-aee4-f2420943b387" providerId="ADAL" clId="{E02E4500-50CF-4733-B81E-88D2BD7F6830}" dt="2022-01-18T12:15:18.724" v="578" actId="554"/>
          <ac:spMkLst>
            <pc:docMk/>
            <pc:sldMk cId="1883859609" sldId="2146847370"/>
            <ac:spMk id="29" creationId="{436D9969-5228-441E-BB2B-467827D3A5AC}"/>
          </ac:spMkLst>
        </pc:spChg>
        <pc:graphicFrameChg chg="mod modGraphic">
          <ac:chgData name="Atkar, Devyani Anil" userId="30060140-18fd-4dc5-aee4-f2420943b387" providerId="ADAL" clId="{E02E4500-50CF-4733-B81E-88D2BD7F6830}" dt="2022-01-18T12:17:32.687" v="677" actId="207"/>
          <ac:graphicFrameMkLst>
            <pc:docMk/>
            <pc:sldMk cId="1883859609" sldId="2146847370"/>
            <ac:graphicFrameMk id="14" creationId="{F0423E4E-7FAD-4AB3-99B2-F24577B59D66}"/>
          </ac:graphicFrameMkLst>
        </pc:graphicFrameChg>
      </pc:sldChg>
      <pc:sldChg chg="addSp modSp mod">
        <pc:chgData name="Atkar, Devyani Anil" userId="30060140-18fd-4dc5-aee4-f2420943b387" providerId="ADAL" clId="{E02E4500-50CF-4733-B81E-88D2BD7F6830}" dt="2022-01-19T10:16:36.243" v="1070" actId="20577"/>
        <pc:sldMkLst>
          <pc:docMk/>
          <pc:sldMk cId="2584431280" sldId="2146847372"/>
        </pc:sldMkLst>
        <pc:spChg chg="mod">
          <ac:chgData name="Atkar, Devyani Anil" userId="30060140-18fd-4dc5-aee4-f2420943b387" providerId="ADAL" clId="{E02E4500-50CF-4733-B81E-88D2BD7F6830}" dt="2022-01-18T12:12:13.909" v="481" actId="14100"/>
          <ac:spMkLst>
            <pc:docMk/>
            <pc:sldMk cId="2584431280" sldId="2146847372"/>
            <ac:spMk id="13" creationId="{A2A2B339-34D0-4E4C-A64A-1D4F53CF4E1E}"/>
          </ac:spMkLst>
        </pc:spChg>
        <pc:spChg chg="add mod">
          <ac:chgData name="Atkar, Devyani Anil" userId="30060140-18fd-4dc5-aee4-f2420943b387" providerId="ADAL" clId="{E02E4500-50CF-4733-B81E-88D2BD7F6830}" dt="2022-01-18T12:12:07.633" v="480" actId="207"/>
          <ac:spMkLst>
            <pc:docMk/>
            <pc:sldMk cId="2584431280" sldId="2146847372"/>
            <ac:spMk id="16" creationId="{4A19A5D7-7A99-40B5-BD54-B2D14D171899}"/>
          </ac:spMkLst>
        </pc:spChg>
        <pc:graphicFrameChg chg="mod modGraphic">
          <ac:chgData name="Atkar, Devyani Anil" userId="30060140-18fd-4dc5-aee4-f2420943b387" providerId="ADAL" clId="{E02E4500-50CF-4733-B81E-88D2BD7F6830}" dt="2022-01-19T10:16:36.243" v="1070" actId="20577"/>
          <ac:graphicFrameMkLst>
            <pc:docMk/>
            <pc:sldMk cId="2584431280" sldId="2146847372"/>
            <ac:graphicFrameMk id="15" creationId="{24FDDE7B-7BE6-4EFB-AEF1-669B0772DD9F}"/>
          </ac:graphicFrameMkLst>
        </pc:graphicFrameChg>
      </pc:sldChg>
      <pc:sldChg chg="addSp modSp mod">
        <pc:chgData name="Atkar, Devyani Anil" userId="30060140-18fd-4dc5-aee4-f2420943b387" providerId="ADAL" clId="{E02E4500-50CF-4733-B81E-88D2BD7F6830}" dt="2022-01-19T10:16:23.647" v="1069" actId="20577"/>
        <pc:sldMkLst>
          <pc:docMk/>
          <pc:sldMk cId="3317846635" sldId="2146847377"/>
        </pc:sldMkLst>
        <pc:spChg chg="mod">
          <ac:chgData name="Atkar, Devyani Anil" userId="30060140-18fd-4dc5-aee4-f2420943b387" providerId="ADAL" clId="{E02E4500-50CF-4733-B81E-88D2BD7F6830}" dt="2022-01-18T12:06:29.378" v="319" actId="14100"/>
          <ac:spMkLst>
            <pc:docMk/>
            <pc:sldMk cId="3317846635" sldId="2146847377"/>
            <ac:spMk id="13" creationId="{A2A2B339-34D0-4E4C-A64A-1D4F53CF4E1E}"/>
          </ac:spMkLst>
        </pc:spChg>
        <pc:spChg chg="mod">
          <ac:chgData name="Atkar, Devyani Anil" userId="30060140-18fd-4dc5-aee4-f2420943b387" providerId="ADAL" clId="{E02E4500-50CF-4733-B81E-88D2BD7F6830}" dt="2022-01-18T12:09:26.450" v="398" actId="1037"/>
          <ac:spMkLst>
            <pc:docMk/>
            <pc:sldMk cId="3317846635" sldId="2146847377"/>
            <ac:spMk id="14" creationId="{CC75590A-0B2A-4DC7-8276-6CF0AA6A570B}"/>
          </ac:spMkLst>
        </pc:spChg>
        <pc:spChg chg="add mod">
          <ac:chgData name="Atkar, Devyani Anil" userId="30060140-18fd-4dc5-aee4-f2420943b387" providerId="ADAL" clId="{E02E4500-50CF-4733-B81E-88D2BD7F6830}" dt="2022-01-18T12:09:46.731" v="400" actId="207"/>
          <ac:spMkLst>
            <pc:docMk/>
            <pc:sldMk cId="3317846635" sldId="2146847377"/>
            <ac:spMk id="16" creationId="{D22E33CC-1DB4-4D84-8546-F2DC8663353D}"/>
          </ac:spMkLst>
        </pc:spChg>
        <pc:spChg chg="mod">
          <ac:chgData name="Atkar, Devyani Anil" userId="30060140-18fd-4dc5-aee4-f2420943b387" providerId="ADAL" clId="{E02E4500-50CF-4733-B81E-88D2BD7F6830}" dt="2022-01-18T12:09:30.339" v="399" actId="408"/>
          <ac:spMkLst>
            <pc:docMk/>
            <pc:sldMk cId="3317846635" sldId="2146847377"/>
            <ac:spMk id="23" creationId="{1C06B414-FC51-41C8-8FB0-3B8CBF313D11}"/>
          </ac:spMkLst>
        </pc:spChg>
        <pc:spChg chg="mod">
          <ac:chgData name="Atkar, Devyani Anil" userId="30060140-18fd-4dc5-aee4-f2420943b387" providerId="ADAL" clId="{E02E4500-50CF-4733-B81E-88D2BD7F6830}" dt="2022-01-18T12:09:30.339" v="399" actId="408"/>
          <ac:spMkLst>
            <pc:docMk/>
            <pc:sldMk cId="3317846635" sldId="2146847377"/>
            <ac:spMk id="24" creationId="{9E1844B7-E4AB-4C61-A35C-F15C132A6968}"/>
          </ac:spMkLst>
        </pc:spChg>
        <pc:spChg chg="mod">
          <ac:chgData name="Atkar, Devyani Anil" userId="30060140-18fd-4dc5-aee4-f2420943b387" providerId="ADAL" clId="{E02E4500-50CF-4733-B81E-88D2BD7F6830}" dt="2022-01-18T12:09:30.339" v="399" actId="408"/>
          <ac:spMkLst>
            <pc:docMk/>
            <pc:sldMk cId="3317846635" sldId="2146847377"/>
            <ac:spMk id="25" creationId="{5C47D989-D963-4F76-AB4D-F9856F5B50AC}"/>
          </ac:spMkLst>
        </pc:spChg>
        <pc:spChg chg="mod">
          <ac:chgData name="Atkar, Devyani Anil" userId="30060140-18fd-4dc5-aee4-f2420943b387" providerId="ADAL" clId="{E02E4500-50CF-4733-B81E-88D2BD7F6830}" dt="2022-01-18T12:09:30.339" v="399" actId="408"/>
          <ac:spMkLst>
            <pc:docMk/>
            <pc:sldMk cId="3317846635" sldId="2146847377"/>
            <ac:spMk id="26" creationId="{4F7FFED5-22BA-47DE-898F-A456A970819E}"/>
          </ac:spMkLst>
        </pc:spChg>
        <pc:spChg chg="mod">
          <ac:chgData name="Atkar, Devyani Anil" userId="30060140-18fd-4dc5-aee4-f2420943b387" providerId="ADAL" clId="{E02E4500-50CF-4733-B81E-88D2BD7F6830}" dt="2022-01-18T12:09:30.339" v="399" actId="408"/>
          <ac:spMkLst>
            <pc:docMk/>
            <pc:sldMk cId="3317846635" sldId="2146847377"/>
            <ac:spMk id="27" creationId="{33A613B4-48EB-4627-B175-58670DFB733D}"/>
          </ac:spMkLst>
        </pc:spChg>
        <pc:spChg chg="mod">
          <ac:chgData name="Atkar, Devyani Anil" userId="30060140-18fd-4dc5-aee4-f2420943b387" providerId="ADAL" clId="{E02E4500-50CF-4733-B81E-88D2BD7F6830}" dt="2022-01-18T12:09:30.339" v="399" actId="408"/>
          <ac:spMkLst>
            <pc:docMk/>
            <pc:sldMk cId="3317846635" sldId="2146847377"/>
            <ac:spMk id="28" creationId="{22449DAB-2376-4BE5-A672-98352E6E24B9}"/>
          </ac:spMkLst>
        </pc:spChg>
        <pc:spChg chg="mod">
          <ac:chgData name="Atkar, Devyani Anil" userId="30060140-18fd-4dc5-aee4-f2420943b387" providerId="ADAL" clId="{E02E4500-50CF-4733-B81E-88D2BD7F6830}" dt="2022-01-18T12:09:30.339" v="399" actId="408"/>
          <ac:spMkLst>
            <pc:docMk/>
            <pc:sldMk cId="3317846635" sldId="2146847377"/>
            <ac:spMk id="29" creationId="{7D9E0D87-988B-41ED-A7F2-8BECCAA22274}"/>
          </ac:spMkLst>
        </pc:spChg>
        <pc:graphicFrameChg chg="modGraphic">
          <ac:chgData name="Atkar, Devyani Anil" userId="30060140-18fd-4dc5-aee4-f2420943b387" providerId="ADAL" clId="{E02E4500-50CF-4733-B81E-88D2BD7F6830}" dt="2022-01-19T10:16:23.647" v="1069" actId="20577"/>
          <ac:graphicFrameMkLst>
            <pc:docMk/>
            <pc:sldMk cId="3317846635" sldId="2146847377"/>
            <ac:graphicFrameMk id="15" creationId="{24FDDE7B-7BE6-4EFB-AEF1-669B0772DD9F}"/>
          </ac:graphicFrameMkLst>
        </pc:graphicFrameChg>
      </pc:sldChg>
      <pc:sldChg chg="modSp mod">
        <pc:chgData name="Atkar, Devyani Anil" userId="30060140-18fd-4dc5-aee4-f2420943b387" providerId="ADAL" clId="{E02E4500-50CF-4733-B81E-88D2BD7F6830}" dt="2022-01-19T10:34:55.707" v="1587" actId="6549"/>
        <pc:sldMkLst>
          <pc:docMk/>
          <pc:sldMk cId="1569801637" sldId="2146847382"/>
        </pc:sldMkLst>
        <pc:spChg chg="mod">
          <ac:chgData name="Atkar, Devyani Anil" userId="30060140-18fd-4dc5-aee4-f2420943b387" providerId="ADAL" clId="{E02E4500-50CF-4733-B81E-88D2BD7F6830}" dt="2022-01-19T10:32:24.366" v="1424" actId="6549"/>
          <ac:spMkLst>
            <pc:docMk/>
            <pc:sldMk cId="1569801637" sldId="2146847382"/>
            <ac:spMk id="26" creationId="{4F7FFED5-22BA-47DE-898F-A456A970819E}"/>
          </ac:spMkLst>
        </pc:spChg>
        <pc:graphicFrameChg chg="mod modGraphic">
          <ac:chgData name="Atkar, Devyani Anil" userId="30060140-18fd-4dc5-aee4-f2420943b387" providerId="ADAL" clId="{E02E4500-50CF-4733-B81E-88D2BD7F6830}" dt="2022-01-19T10:34:55.707" v="1587" actId="6549"/>
          <ac:graphicFrameMkLst>
            <pc:docMk/>
            <pc:sldMk cId="1569801637" sldId="2146847382"/>
            <ac:graphicFrameMk id="15" creationId="{24FDDE7B-7BE6-4EFB-AEF1-669B0772DD9F}"/>
          </ac:graphicFrameMkLst>
        </pc:graphicFrameChg>
      </pc:sldChg>
      <pc:sldChg chg="addSp delSp modSp add mod">
        <pc:chgData name="Atkar, Devyani Anil" userId="30060140-18fd-4dc5-aee4-f2420943b387" providerId="ADAL" clId="{E02E4500-50CF-4733-B81E-88D2BD7F6830}" dt="2022-01-19T10:32:30.234" v="1425" actId="20577"/>
        <pc:sldMkLst>
          <pc:docMk/>
          <pc:sldMk cId="236971706" sldId="2146847387"/>
        </pc:sldMkLst>
        <pc:spChg chg="add del mod">
          <ac:chgData name="Atkar, Devyani Anil" userId="30060140-18fd-4dc5-aee4-f2420943b387" providerId="ADAL" clId="{E02E4500-50CF-4733-B81E-88D2BD7F6830}" dt="2022-01-19T10:06:16.386" v="861" actId="478"/>
          <ac:spMkLst>
            <pc:docMk/>
            <pc:sldMk cId="236971706" sldId="2146847387"/>
            <ac:spMk id="152" creationId="{6642C75F-ABF7-4787-9343-55FE6FCE5910}"/>
          </ac:spMkLst>
        </pc:spChg>
        <pc:spChg chg="add mod">
          <ac:chgData name="Atkar, Devyani Anil" userId="30060140-18fd-4dc5-aee4-f2420943b387" providerId="ADAL" clId="{E02E4500-50CF-4733-B81E-88D2BD7F6830}" dt="2022-01-18T11:53:36.194" v="164" actId="207"/>
          <ac:spMkLst>
            <pc:docMk/>
            <pc:sldMk cId="236971706" sldId="2146847387"/>
            <ac:spMk id="153" creationId="{7F2D53DB-DC66-4BEA-8F2D-09C02BD13D92}"/>
          </ac:spMkLst>
        </pc:spChg>
        <pc:spChg chg="add mod">
          <ac:chgData name="Atkar, Devyani Anil" userId="30060140-18fd-4dc5-aee4-f2420943b387" providerId="ADAL" clId="{E02E4500-50CF-4733-B81E-88D2BD7F6830}" dt="2022-01-18T11:57:39.350" v="213" actId="207"/>
          <ac:spMkLst>
            <pc:docMk/>
            <pc:sldMk cId="236971706" sldId="2146847387"/>
            <ac:spMk id="154" creationId="{F8ACA560-8B8E-4D04-A944-FCF20783721B}"/>
          </ac:spMkLst>
        </pc:spChg>
        <pc:spChg chg="add mod">
          <ac:chgData name="Atkar, Devyani Anil" userId="30060140-18fd-4dc5-aee4-f2420943b387" providerId="ADAL" clId="{E02E4500-50CF-4733-B81E-88D2BD7F6830}" dt="2022-01-18T12:05:00.612" v="263" actId="207"/>
          <ac:spMkLst>
            <pc:docMk/>
            <pc:sldMk cId="236971706" sldId="2146847387"/>
            <ac:spMk id="165" creationId="{4FE685EC-3F33-40BD-B155-F8454BF764C6}"/>
          </ac:spMkLst>
        </pc:spChg>
        <pc:spChg chg="add mod">
          <ac:chgData name="Atkar, Devyani Anil" userId="30060140-18fd-4dc5-aee4-f2420943b387" providerId="ADAL" clId="{E02E4500-50CF-4733-B81E-88D2BD7F6830}" dt="2022-01-19T10:10:54.994" v="869" actId="20577"/>
          <ac:spMkLst>
            <pc:docMk/>
            <pc:sldMk cId="236971706" sldId="2146847387"/>
            <ac:spMk id="166" creationId="{8FCB4E9E-EDC1-4C7F-A3A1-C0FF5DEF9936}"/>
          </ac:spMkLst>
        </pc:spChg>
        <pc:spChg chg="mod">
          <ac:chgData name="Atkar, Devyani Anil" userId="30060140-18fd-4dc5-aee4-f2420943b387" providerId="ADAL" clId="{E02E4500-50CF-4733-B81E-88D2BD7F6830}" dt="2022-01-19T10:11:02.883" v="871" actId="20577"/>
          <ac:spMkLst>
            <pc:docMk/>
            <pc:sldMk cId="236971706" sldId="2146847387"/>
            <ac:spMk id="170" creationId="{E2542F0F-7819-40ED-94D4-4B89A966177D}"/>
          </ac:spMkLst>
        </pc:spChg>
        <pc:spChg chg="mod">
          <ac:chgData name="Atkar, Devyani Anil" userId="30060140-18fd-4dc5-aee4-f2420943b387" providerId="ADAL" clId="{E02E4500-50CF-4733-B81E-88D2BD7F6830}" dt="2022-01-19T10:32:30.234" v="1425" actId="20577"/>
          <ac:spMkLst>
            <pc:docMk/>
            <pc:sldMk cId="236971706" sldId="2146847387"/>
            <ac:spMk id="178" creationId="{0F933D43-6CF1-4483-93D0-D2D87483FB20}"/>
          </ac:spMkLst>
        </pc:spChg>
        <pc:spChg chg="mod">
          <ac:chgData name="Atkar, Devyani Anil" userId="30060140-18fd-4dc5-aee4-f2420943b387" providerId="ADAL" clId="{E02E4500-50CF-4733-B81E-88D2BD7F6830}" dt="2022-01-19T10:11:23.916" v="885" actId="20577"/>
          <ac:spMkLst>
            <pc:docMk/>
            <pc:sldMk cId="236971706" sldId="2146847387"/>
            <ac:spMk id="195" creationId="{CE7DD3C6-A8A5-4E93-966F-7E436E8FA0CF}"/>
          </ac:spMkLst>
        </pc:spChg>
        <pc:spChg chg="mod">
          <ac:chgData name="Atkar, Devyani Anil" userId="30060140-18fd-4dc5-aee4-f2420943b387" providerId="ADAL" clId="{E02E4500-50CF-4733-B81E-88D2BD7F6830}" dt="2022-01-19T10:11:29.580" v="887" actId="20577"/>
          <ac:spMkLst>
            <pc:docMk/>
            <pc:sldMk cId="236971706" sldId="2146847387"/>
            <ac:spMk id="197" creationId="{B6995373-6443-46A4-B64E-66D3E01CC60B}"/>
          </ac:spMkLst>
        </pc:spChg>
        <pc:spChg chg="mod">
          <ac:chgData name="Atkar, Devyani Anil" userId="30060140-18fd-4dc5-aee4-f2420943b387" providerId="ADAL" clId="{E02E4500-50CF-4733-B81E-88D2BD7F6830}" dt="2022-01-19T10:11:20.350" v="883" actId="20577"/>
          <ac:spMkLst>
            <pc:docMk/>
            <pc:sldMk cId="236971706" sldId="2146847387"/>
            <ac:spMk id="202" creationId="{7D48C424-127E-4017-BB8E-9F8573D12116}"/>
          </ac:spMkLst>
        </pc:spChg>
        <pc:spChg chg="mod">
          <ac:chgData name="Atkar, Devyani Anil" userId="30060140-18fd-4dc5-aee4-f2420943b387" providerId="ADAL" clId="{E02E4500-50CF-4733-B81E-88D2BD7F6830}" dt="2022-01-19T10:11:16.692" v="881" actId="20577"/>
          <ac:spMkLst>
            <pc:docMk/>
            <pc:sldMk cId="236971706" sldId="2146847387"/>
            <ac:spMk id="206" creationId="{3993CB87-C937-4AD6-86F5-63B05579F539}"/>
          </ac:spMkLst>
        </pc:spChg>
        <pc:spChg chg="mod">
          <ac:chgData name="Atkar, Devyani Anil" userId="30060140-18fd-4dc5-aee4-f2420943b387" providerId="ADAL" clId="{E02E4500-50CF-4733-B81E-88D2BD7F6830}" dt="2022-01-19T10:11:13.613" v="879" actId="20577"/>
          <ac:spMkLst>
            <pc:docMk/>
            <pc:sldMk cId="236971706" sldId="2146847387"/>
            <ac:spMk id="208" creationId="{5CD88F64-8F5F-4224-8BD0-3D748F8152BB}"/>
          </ac:spMkLst>
        </pc:spChg>
        <pc:spChg chg="mod">
          <ac:chgData name="Atkar, Devyani Anil" userId="30060140-18fd-4dc5-aee4-f2420943b387" providerId="ADAL" clId="{E02E4500-50CF-4733-B81E-88D2BD7F6830}" dt="2022-01-18T11:41:47.709" v="70" actId="1076"/>
          <ac:spMkLst>
            <pc:docMk/>
            <pc:sldMk cId="236971706" sldId="2146847387"/>
            <ac:spMk id="219" creationId="{5CFFF38E-F420-49F2-8564-D4E915E13AA9}"/>
          </ac:spMkLst>
        </pc:spChg>
        <pc:spChg chg="mod">
          <ac:chgData name="Atkar, Devyani Anil" userId="30060140-18fd-4dc5-aee4-f2420943b387" providerId="ADAL" clId="{E02E4500-50CF-4733-B81E-88D2BD7F6830}" dt="2022-01-18T11:56:01.454" v="203" actId="554"/>
          <ac:spMkLst>
            <pc:docMk/>
            <pc:sldMk cId="236971706" sldId="2146847387"/>
            <ac:spMk id="220" creationId="{11AC825E-D627-45E9-85FF-6A58BEE49119}"/>
          </ac:spMkLst>
        </pc:spChg>
        <pc:spChg chg="mod">
          <ac:chgData name="Atkar, Devyani Anil" userId="30060140-18fd-4dc5-aee4-f2420943b387" providerId="ADAL" clId="{E02E4500-50CF-4733-B81E-88D2BD7F6830}" dt="2022-01-18T11:56:04.455" v="204" actId="408"/>
          <ac:spMkLst>
            <pc:docMk/>
            <pc:sldMk cId="236971706" sldId="2146847387"/>
            <ac:spMk id="221" creationId="{F410DE05-0A9D-4FDC-878A-CA148F603BAD}"/>
          </ac:spMkLst>
        </pc:spChg>
        <pc:spChg chg="mod">
          <ac:chgData name="Atkar, Devyani Anil" userId="30060140-18fd-4dc5-aee4-f2420943b387" providerId="ADAL" clId="{E02E4500-50CF-4733-B81E-88D2BD7F6830}" dt="2022-01-18T11:56:04.455" v="204" actId="408"/>
          <ac:spMkLst>
            <pc:docMk/>
            <pc:sldMk cId="236971706" sldId="2146847387"/>
            <ac:spMk id="222" creationId="{93785FE4-8DB9-490A-99C5-C3629D7BE0A6}"/>
          </ac:spMkLst>
        </pc:spChg>
        <pc:spChg chg="mod">
          <ac:chgData name="Atkar, Devyani Anil" userId="30060140-18fd-4dc5-aee4-f2420943b387" providerId="ADAL" clId="{E02E4500-50CF-4733-B81E-88D2BD7F6830}" dt="2022-01-18T11:56:12.437" v="206" actId="14100"/>
          <ac:spMkLst>
            <pc:docMk/>
            <pc:sldMk cId="236971706" sldId="2146847387"/>
            <ac:spMk id="223" creationId="{3710255E-F31D-45E2-9FA9-A132D8E0278B}"/>
          </ac:spMkLst>
        </pc:spChg>
        <pc:spChg chg="mod">
          <ac:chgData name="Atkar, Devyani Anil" userId="30060140-18fd-4dc5-aee4-f2420943b387" providerId="ADAL" clId="{E02E4500-50CF-4733-B81E-88D2BD7F6830}" dt="2022-01-18T11:57:23.103" v="212" actId="408"/>
          <ac:spMkLst>
            <pc:docMk/>
            <pc:sldMk cId="236971706" sldId="2146847387"/>
            <ac:spMk id="224" creationId="{2C1412E9-7FA6-4AE3-8523-3124622303C2}"/>
          </ac:spMkLst>
        </pc:spChg>
        <pc:spChg chg="mod">
          <ac:chgData name="Atkar, Devyani Anil" userId="30060140-18fd-4dc5-aee4-f2420943b387" providerId="ADAL" clId="{E02E4500-50CF-4733-B81E-88D2BD7F6830}" dt="2022-01-18T11:57:23.103" v="212" actId="408"/>
          <ac:spMkLst>
            <pc:docMk/>
            <pc:sldMk cId="236971706" sldId="2146847387"/>
            <ac:spMk id="225" creationId="{FD955147-CBB8-46F3-9A43-8E7F7267EF1A}"/>
          </ac:spMkLst>
        </pc:spChg>
        <pc:spChg chg="mod">
          <ac:chgData name="Atkar, Devyani Anil" userId="30060140-18fd-4dc5-aee4-f2420943b387" providerId="ADAL" clId="{E02E4500-50CF-4733-B81E-88D2BD7F6830}" dt="2022-01-18T11:57:23.103" v="212" actId="408"/>
          <ac:spMkLst>
            <pc:docMk/>
            <pc:sldMk cId="236971706" sldId="2146847387"/>
            <ac:spMk id="226" creationId="{7B1E98FF-0A54-432F-A836-CD118C23CE61}"/>
          </ac:spMkLst>
        </pc:spChg>
        <pc:spChg chg="mod">
          <ac:chgData name="Atkar, Devyani Anil" userId="30060140-18fd-4dc5-aee4-f2420943b387" providerId="ADAL" clId="{E02E4500-50CF-4733-B81E-88D2BD7F6830}" dt="2022-01-18T11:57:23.103" v="212" actId="408"/>
          <ac:spMkLst>
            <pc:docMk/>
            <pc:sldMk cId="236971706" sldId="2146847387"/>
            <ac:spMk id="227" creationId="{0E0AD5B0-E467-4F0F-BA29-124B55C15B98}"/>
          </ac:spMkLst>
        </pc:spChg>
        <pc:spChg chg="mod">
          <ac:chgData name="Atkar, Devyani Anil" userId="30060140-18fd-4dc5-aee4-f2420943b387" providerId="ADAL" clId="{E02E4500-50CF-4733-B81E-88D2BD7F6830}" dt="2022-01-18T11:56:07.045" v="205" actId="1076"/>
          <ac:spMkLst>
            <pc:docMk/>
            <pc:sldMk cId="236971706" sldId="2146847387"/>
            <ac:spMk id="228" creationId="{D0884360-49BA-416B-BCA8-28E662CC310F}"/>
          </ac:spMkLst>
        </pc:spChg>
        <pc:spChg chg="mod">
          <ac:chgData name="Atkar, Devyani Anil" userId="30060140-18fd-4dc5-aee4-f2420943b387" providerId="ADAL" clId="{E02E4500-50CF-4733-B81E-88D2BD7F6830}" dt="2022-01-18T11:47:24.421" v="109" actId="1076"/>
          <ac:spMkLst>
            <pc:docMk/>
            <pc:sldMk cId="236971706" sldId="2146847387"/>
            <ac:spMk id="229" creationId="{E813E92B-A912-442A-8F12-2ED373DD86C7}"/>
          </ac:spMkLst>
        </pc:spChg>
        <pc:spChg chg="mod">
          <ac:chgData name="Atkar, Devyani Anil" userId="30060140-18fd-4dc5-aee4-f2420943b387" providerId="ADAL" clId="{E02E4500-50CF-4733-B81E-88D2BD7F6830}" dt="2022-01-18T11:49:43.047" v="128" actId="1076"/>
          <ac:spMkLst>
            <pc:docMk/>
            <pc:sldMk cId="236971706" sldId="2146847387"/>
            <ac:spMk id="238" creationId="{9F4A629B-A5D0-4FDF-8442-FFC1DD04C67B}"/>
          </ac:spMkLst>
        </pc:spChg>
        <pc:spChg chg="mod">
          <ac:chgData name="Atkar, Devyani Anil" userId="30060140-18fd-4dc5-aee4-f2420943b387" providerId="ADAL" clId="{E02E4500-50CF-4733-B81E-88D2BD7F6830}" dt="2022-01-18T11:52:23.890" v="163" actId="408"/>
          <ac:spMkLst>
            <pc:docMk/>
            <pc:sldMk cId="236971706" sldId="2146847387"/>
            <ac:spMk id="250" creationId="{9A253CEA-CB62-4C38-AA60-9C0AD17358FD}"/>
          </ac:spMkLst>
        </pc:spChg>
        <pc:spChg chg="mod">
          <ac:chgData name="Atkar, Devyani Anil" userId="30060140-18fd-4dc5-aee4-f2420943b387" providerId="ADAL" clId="{E02E4500-50CF-4733-B81E-88D2BD7F6830}" dt="2022-01-18T11:52:23.890" v="163" actId="408"/>
          <ac:spMkLst>
            <pc:docMk/>
            <pc:sldMk cId="236971706" sldId="2146847387"/>
            <ac:spMk id="251" creationId="{E4D3281D-5913-4AD7-8633-00777950202F}"/>
          </ac:spMkLst>
        </pc:spChg>
        <pc:spChg chg="mod">
          <ac:chgData name="Atkar, Devyani Anil" userId="30060140-18fd-4dc5-aee4-f2420943b387" providerId="ADAL" clId="{E02E4500-50CF-4733-B81E-88D2BD7F6830}" dt="2022-01-18T11:52:23.890" v="163" actId="408"/>
          <ac:spMkLst>
            <pc:docMk/>
            <pc:sldMk cId="236971706" sldId="2146847387"/>
            <ac:spMk id="252" creationId="{962DC4CC-A63D-48D9-865D-3D9451810AB0}"/>
          </ac:spMkLst>
        </pc:spChg>
        <pc:spChg chg="mod">
          <ac:chgData name="Atkar, Devyani Anil" userId="30060140-18fd-4dc5-aee4-f2420943b387" providerId="ADAL" clId="{E02E4500-50CF-4733-B81E-88D2BD7F6830}" dt="2022-01-18T11:52:23.890" v="163" actId="408"/>
          <ac:spMkLst>
            <pc:docMk/>
            <pc:sldMk cId="236971706" sldId="2146847387"/>
            <ac:spMk id="253" creationId="{469F4A01-140C-40A1-9BDF-DC8949283EDA}"/>
          </ac:spMkLst>
        </pc:spChg>
        <pc:spChg chg="mod">
          <ac:chgData name="Atkar, Devyani Anil" userId="30060140-18fd-4dc5-aee4-f2420943b387" providerId="ADAL" clId="{E02E4500-50CF-4733-B81E-88D2BD7F6830}" dt="2022-01-18T11:51:30.886" v="142" actId="14100"/>
          <ac:spMkLst>
            <pc:docMk/>
            <pc:sldMk cId="236971706" sldId="2146847387"/>
            <ac:spMk id="254" creationId="{6C5F8A87-B9E2-4D57-AFF0-855B020F2F4F}"/>
          </ac:spMkLst>
        </pc:spChg>
        <pc:spChg chg="mod">
          <ac:chgData name="Atkar, Devyani Anil" userId="30060140-18fd-4dc5-aee4-f2420943b387" providerId="ADAL" clId="{E02E4500-50CF-4733-B81E-88D2BD7F6830}" dt="2022-01-18T11:52:23.890" v="163" actId="408"/>
          <ac:spMkLst>
            <pc:docMk/>
            <pc:sldMk cId="236971706" sldId="2146847387"/>
            <ac:spMk id="255" creationId="{1CE58D57-E26D-4C65-986A-F422EAEA2860}"/>
          </ac:spMkLst>
        </pc:spChg>
        <pc:spChg chg="mod">
          <ac:chgData name="Atkar, Devyani Anil" userId="30060140-18fd-4dc5-aee4-f2420943b387" providerId="ADAL" clId="{E02E4500-50CF-4733-B81E-88D2BD7F6830}" dt="2022-01-18T11:52:23.890" v="163" actId="408"/>
          <ac:spMkLst>
            <pc:docMk/>
            <pc:sldMk cId="236971706" sldId="2146847387"/>
            <ac:spMk id="256" creationId="{CD8CBE52-E0C3-4213-9300-FD1E5ED87454}"/>
          </ac:spMkLst>
        </pc:spChg>
        <pc:spChg chg="mod">
          <ac:chgData name="Atkar, Devyani Anil" userId="30060140-18fd-4dc5-aee4-f2420943b387" providerId="ADAL" clId="{E02E4500-50CF-4733-B81E-88D2BD7F6830}" dt="2022-01-18T11:49:34.902" v="125" actId="14100"/>
          <ac:spMkLst>
            <pc:docMk/>
            <pc:sldMk cId="236971706" sldId="2146847387"/>
            <ac:spMk id="264" creationId="{45663FB7-5990-42F6-8108-09CF80A4F31F}"/>
          </ac:spMkLst>
        </pc:spChg>
        <pc:spChg chg="mod">
          <ac:chgData name="Atkar, Devyani Anil" userId="30060140-18fd-4dc5-aee4-f2420943b387" providerId="ADAL" clId="{E02E4500-50CF-4733-B81E-88D2BD7F6830}" dt="2022-01-18T11:50:54.279" v="139" actId="408"/>
          <ac:spMkLst>
            <pc:docMk/>
            <pc:sldMk cId="236971706" sldId="2146847387"/>
            <ac:spMk id="265" creationId="{B76AD24F-B23A-4CDF-97BC-2E265E964FFD}"/>
          </ac:spMkLst>
        </pc:spChg>
        <pc:spChg chg="mod">
          <ac:chgData name="Atkar, Devyani Anil" userId="30060140-18fd-4dc5-aee4-f2420943b387" providerId="ADAL" clId="{E02E4500-50CF-4733-B81E-88D2BD7F6830}" dt="2022-01-18T11:50:54.279" v="139" actId="408"/>
          <ac:spMkLst>
            <pc:docMk/>
            <pc:sldMk cId="236971706" sldId="2146847387"/>
            <ac:spMk id="266" creationId="{B4B90596-D772-4EA6-8FD7-946B7099AA8F}"/>
          </ac:spMkLst>
        </pc:spChg>
        <pc:spChg chg="mod">
          <ac:chgData name="Atkar, Devyani Anil" userId="30060140-18fd-4dc5-aee4-f2420943b387" providerId="ADAL" clId="{E02E4500-50CF-4733-B81E-88D2BD7F6830}" dt="2022-01-18T11:50:54.279" v="139" actId="408"/>
          <ac:spMkLst>
            <pc:docMk/>
            <pc:sldMk cId="236971706" sldId="2146847387"/>
            <ac:spMk id="267" creationId="{F4DE9205-F8BF-4F28-80D2-47F7F1532890}"/>
          </ac:spMkLst>
        </pc:spChg>
        <pc:spChg chg="mod">
          <ac:chgData name="Atkar, Devyani Anil" userId="30060140-18fd-4dc5-aee4-f2420943b387" providerId="ADAL" clId="{E02E4500-50CF-4733-B81E-88D2BD7F6830}" dt="2022-01-18T11:50:54.279" v="139" actId="408"/>
          <ac:spMkLst>
            <pc:docMk/>
            <pc:sldMk cId="236971706" sldId="2146847387"/>
            <ac:spMk id="268" creationId="{8A4663C3-8AD5-442C-A9D0-7356A3FE0111}"/>
          </ac:spMkLst>
        </pc:spChg>
        <pc:spChg chg="mod">
          <ac:chgData name="Atkar, Devyani Anil" userId="30060140-18fd-4dc5-aee4-f2420943b387" providerId="ADAL" clId="{E02E4500-50CF-4733-B81E-88D2BD7F6830}" dt="2022-01-18T11:50:54.279" v="139" actId="408"/>
          <ac:spMkLst>
            <pc:docMk/>
            <pc:sldMk cId="236971706" sldId="2146847387"/>
            <ac:spMk id="269" creationId="{9B2606C5-F99F-4FB3-99B5-CD8B13E2487C}"/>
          </ac:spMkLst>
        </pc:spChg>
        <pc:spChg chg="mod">
          <ac:chgData name="Atkar, Devyani Anil" userId="30060140-18fd-4dc5-aee4-f2420943b387" providerId="ADAL" clId="{E02E4500-50CF-4733-B81E-88D2BD7F6830}" dt="2022-01-18T11:50:54.279" v="139" actId="408"/>
          <ac:spMkLst>
            <pc:docMk/>
            <pc:sldMk cId="236971706" sldId="2146847387"/>
            <ac:spMk id="270" creationId="{5FF701F2-9417-411F-9AA8-C184C8769690}"/>
          </ac:spMkLst>
        </pc:spChg>
        <pc:spChg chg="mod">
          <ac:chgData name="Atkar, Devyani Anil" userId="30060140-18fd-4dc5-aee4-f2420943b387" providerId="ADAL" clId="{E02E4500-50CF-4733-B81E-88D2BD7F6830}" dt="2022-01-18T11:50:54.279" v="139" actId="408"/>
          <ac:spMkLst>
            <pc:docMk/>
            <pc:sldMk cId="236971706" sldId="2146847387"/>
            <ac:spMk id="271" creationId="{2B08BC60-00FE-423B-B816-96E7DF83500C}"/>
          </ac:spMkLst>
        </pc:spChg>
        <pc:spChg chg="mod">
          <ac:chgData name="Atkar, Devyani Anil" userId="30060140-18fd-4dc5-aee4-f2420943b387" providerId="ADAL" clId="{E02E4500-50CF-4733-B81E-88D2BD7F6830}" dt="2022-01-18T11:49:38.976" v="126" actId="1076"/>
          <ac:spMkLst>
            <pc:docMk/>
            <pc:sldMk cId="236971706" sldId="2146847387"/>
            <ac:spMk id="272" creationId="{F3E7EA51-5FC1-4BE7-801E-12562E3B5D81}"/>
          </ac:spMkLst>
        </pc:spChg>
        <pc:spChg chg="mod">
          <ac:chgData name="Atkar, Devyani Anil" userId="30060140-18fd-4dc5-aee4-f2420943b387" providerId="ADAL" clId="{E02E4500-50CF-4733-B81E-88D2BD7F6830}" dt="2022-01-18T11:52:12.021" v="162" actId="1076"/>
          <ac:spMkLst>
            <pc:docMk/>
            <pc:sldMk cId="236971706" sldId="2146847387"/>
            <ac:spMk id="273" creationId="{2DF4406B-B841-4074-B88A-0CEF8F911888}"/>
          </ac:spMkLst>
        </pc:spChg>
        <pc:spChg chg="mod">
          <ac:chgData name="Atkar, Devyani Anil" userId="30060140-18fd-4dc5-aee4-f2420943b387" providerId="ADAL" clId="{E02E4500-50CF-4733-B81E-88D2BD7F6830}" dt="2022-01-19T10:11:06.038" v="873" actId="20577"/>
          <ac:spMkLst>
            <pc:docMk/>
            <pc:sldMk cId="236971706" sldId="2146847387"/>
            <ac:spMk id="282" creationId="{99A48126-9976-470B-B089-F59183561B7D}"/>
          </ac:spMkLst>
        </pc:spChg>
        <pc:spChg chg="mod">
          <ac:chgData name="Atkar, Devyani Anil" userId="30060140-18fd-4dc5-aee4-f2420943b387" providerId="ADAL" clId="{E02E4500-50CF-4733-B81E-88D2BD7F6830}" dt="2022-01-19T10:11:08.876" v="875" actId="20577"/>
          <ac:spMkLst>
            <pc:docMk/>
            <pc:sldMk cId="236971706" sldId="2146847387"/>
            <ac:spMk id="286" creationId="{77BA0039-B0B4-4B7E-BA3D-DC6D33CAB86A}"/>
          </ac:spMkLst>
        </pc:spChg>
        <pc:spChg chg="mod">
          <ac:chgData name="Atkar, Devyani Anil" userId="30060140-18fd-4dc5-aee4-f2420943b387" providerId="ADAL" clId="{E02E4500-50CF-4733-B81E-88D2BD7F6830}" dt="2022-01-18T11:47:15.980" v="108" actId="1076"/>
          <ac:spMkLst>
            <pc:docMk/>
            <pc:sldMk cId="236971706" sldId="2146847387"/>
            <ac:spMk id="388" creationId="{7865EC0D-8770-4D96-A31A-E244D2886EFE}"/>
          </ac:spMkLst>
        </pc:spChg>
      </pc:sldChg>
    </pc:docChg>
  </pc:docChgLst>
  <pc:docChgLst>
    <pc:chgData name="Ghoshal, Arijit" userId="953514b5-eb76-4e8c-904a-e1965138cec5" providerId="ADAL" clId="{A5B2FED9-D36C-47CB-97F0-E35C116C310E}"/>
    <pc:docChg chg="custSel modSld">
      <pc:chgData name="Ghoshal, Arijit" userId="953514b5-eb76-4e8c-904a-e1965138cec5" providerId="ADAL" clId="{A5B2FED9-D36C-47CB-97F0-E35C116C310E}" dt="2021-11-10T23:05:41.924" v="137" actId="207"/>
      <pc:docMkLst>
        <pc:docMk/>
      </pc:docMkLst>
      <pc:sldChg chg="addSp modSp mod">
        <pc:chgData name="Ghoshal, Arijit" userId="953514b5-eb76-4e8c-904a-e1965138cec5" providerId="ADAL" clId="{A5B2FED9-D36C-47CB-97F0-E35C116C310E}" dt="2021-11-10T22:24:04.713" v="81" actId="20577"/>
        <pc:sldMkLst>
          <pc:docMk/>
          <pc:sldMk cId="1760734549" sldId="2146847363"/>
        </pc:sldMkLst>
        <pc:spChg chg="add mod">
          <ac:chgData name="Ghoshal, Arijit" userId="953514b5-eb76-4e8c-904a-e1965138cec5" providerId="ADAL" clId="{A5B2FED9-D36C-47CB-97F0-E35C116C310E}" dt="2021-11-10T22:24:04.713" v="81" actId="20577"/>
          <ac:spMkLst>
            <pc:docMk/>
            <pc:sldMk cId="1760734549" sldId="2146847363"/>
            <ac:spMk id="6" creationId="{E6C875C2-51DC-4FCC-B56D-33A22F8010C9}"/>
          </ac:spMkLst>
        </pc:spChg>
        <pc:graphicFrameChg chg="mod modGraphic">
          <ac:chgData name="Ghoshal, Arijit" userId="953514b5-eb76-4e8c-904a-e1965138cec5" providerId="ADAL" clId="{A5B2FED9-D36C-47CB-97F0-E35C116C310E}" dt="2021-11-10T22:13:46.452" v="19" actId="14100"/>
          <ac:graphicFrameMkLst>
            <pc:docMk/>
            <pc:sldMk cId="1760734549" sldId="2146847363"/>
            <ac:graphicFrameMk id="12" creationId="{18069194-4058-49E6-BA4C-7954C0646E61}"/>
          </ac:graphicFrameMkLst>
        </pc:graphicFrameChg>
      </pc:sldChg>
      <pc:sldChg chg="addSp modSp mod">
        <pc:chgData name="Ghoshal, Arijit" userId="953514b5-eb76-4e8c-904a-e1965138cec5" providerId="ADAL" clId="{A5B2FED9-D36C-47CB-97F0-E35C116C310E}" dt="2021-11-10T23:05:41.924" v="137" actId="207"/>
        <pc:sldMkLst>
          <pc:docMk/>
          <pc:sldMk cId="1840630185" sldId="2146847366"/>
        </pc:sldMkLst>
        <pc:spChg chg="add mod">
          <ac:chgData name="Ghoshal, Arijit" userId="953514b5-eb76-4e8c-904a-e1965138cec5" providerId="ADAL" clId="{A5B2FED9-D36C-47CB-97F0-E35C116C310E}" dt="2021-11-10T22:24:29.204" v="128" actId="20577"/>
          <ac:spMkLst>
            <pc:docMk/>
            <pc:sldMk cId="1840630185" sldId="2146847366"/>
            <ac:spMk id="11" creationId="{360D6157-255A-4B31-BE74-8FEF765C165E}"/>
          </ac:spMkLst>
        </pc:spChg>
        <pc:graphicFrameChg chg="mod modGraphic">
          <ac:chgData name="Ghoshal, Arijit" userId="953514b5-eb76-4e8c-904a-e1965138cec5" providerId="ADAL" clId="{A5B2FED9-D36C-47CB-97F0-E35C116C310E}" dt="2021-11-10T23:05:41.924" v="137" actId="207"/>
          <ac:graphicFrameMkLst>
            <pc:docMk/>
            <pc:sldMk cId="1840630185" sldId="2146847366"/>
            <ac:graphicFrameMk id="12" creationId="{18069194-4058-49E6-BA4C-7954C0646E61}"/>
          </ac:graphicFrameMkLst>
        </pc:graphicFrameChg>
      </pc:sldChg>
    </pc:docChg>
  </pc:docChgLst>
  <pc:docChgLst>
    <pc:chgData name="Vallabhaneni, Sree Kavya" userId="S::sree.k.vallabhaneni@accenture.com::4c24d998-4943-407a-ac2e-54792b1a54f3" providerId="AD" clId="Web-{FBF2AD44-E75E-49B9-91D5-70195E6FE810}"/>
    <pc:docChg chg="addSld delSld modSection">
      <pc:chgData name="Vallabhaneni, Sree Kavya" userId="S::sree.k.vallabhaneni@accenture.com::4c24d998-4943-407a-ac2e-54792b1a54f3" providerId="AD" clId="Web-{FBF2AD44-E75E-49B9-91D5-70195E6FE810}" dt="2022-12-23T08:11:33.206" v="3"/>
      <pc:docMkLst>
        <pc:docMk/>
      </pc:docMkLst>
      <pc:sldChg chg="del">
        <pc:chgData name="Vallabhaneni, Sree Kavya" userId="S::sree.k.vallabhaneni@accenture.com::4c24d998-4943-407a-ac2e-54792b1a54f3" providerId="AD" clId="Web-{FBF2AD44-E75E-49B9-91D5-70195E6FE810}" dt="2022-12-23T08:11:18.362" v="0"/>
        <pc:sldMkLst>
          <pc:docMk/>
          <pc:sldMk cId="2157637328" sldId="2146846961"/>
        </pc:sldMkLst>
      </pc:sldChg>
      <pc:sldChg chg="del">
        <pc:chgData name="Vallabhaneni, Sree Kavya" userId="S::sree.k.vallabhaneni@accenture.com::4c24d998-4943-407a-ac2e-54792b1a54f3" providerId="AD" clId="Web-{FBF2AD44-E75E-49B9-91D5-70195E6FE810}" dt="2022-12-23T08:11:19.534" v="1"/>
        <pc:sldMkLst>
          <pc:docMk/>
          <pc:sldMk cId="2161840231" sldId="2146847317"/>
        </pc:sldMkLst>
      </pc:sldChg>
      <pc:sldChg chg="add">
        <pc:chgData name="Vallabhaneni, Sree Kavya" userId="S::sree.k.vallabhaneni@accenture.com::4c24d998-4943-407a-ac2e-54792b1a54f3" providerId="AD" clId="Web-{FBF2AD44-E75E-49B9-91D5-70195E6FE810}" dt="2022-12-23T08:11:27.206" v="2"/>
        <pc:sldMkLst>
          <pc:docMk/>
          <pc:sldMk cId="961769931" sldId="2146847388"/>
        </pc:sldMkLst>
      </pc:sldChg>
      <pc:sldChg chg="add">
        <pc:chgData name="Vallabhaneni, Sree Kavya" userId="S::sree.k.vallabhaneni@accenture.com::4c24d998-4943-407a-ac2e-54792b1a54f3" providerId="AD" clId="Web-{FBF2AD44-E75E-49B9-91D5-70195E6FE810}" dt="2022-12-23T08:11:33.206" v="3"/>
        <pc:sldMkLst>
          <pc:docMk/>
          <pc:sldMk cId="2932013431" sldId="2146847389"/>
        </pc:sldMkLst>
      </pc:sldChg>
      <pc:sldMasterChg chg="addSldLayout">
        <pc:chgData name="Vallabhaneni, Sree Kavya" userId="S::sree.k.vallabhaneni@accenture.com::4c24d998-4943-407a-ac2e-54792b1a54f3" providerId="AD" clId="Web-{FBF2AD44-E75E-49B9-91D5-70195E6FE810}" dt="2022-12-23T08:11:27.206" v="2"/>
        <pc:sldMasterMkLst>
          <pc:docMk/>
          <pc:sldMasterMk cId="286210591" sldId="2147483866"/>
        </pc:sldMasterMkLst>
        <pc:sldLayoutChg chg="add">
          <pc:chgData name="Vallabhaneni, Sree Kavya" userId="S::sree.k.vallabhaneni@accenture.com::4c24d998-4943-407a-ac2e-54792b1a54f3" providerId="AD" clId="Web-{FBF2AD44-E75E-49B9-91D5-70195E6FE810}" dt="2022-12-23T08:11:27.206" v="2"/>
          <pc:sldLayoutMkLst>
            <pc:docMk/>
            <pc:sldMasterMk cId="286210591" sldId="2147483866"/>
            <pc:sldLayoutMk cId="784226250" sldId="2147483671"/>
          </pc:sldLayoutMkLst>
        </pc:sldLayoutChg>
        <pc:sldLayoutChg chg="add">
          <pc:chgData name="Vallabhaneni, Sree Kavya" userId="S::sree.k.vallabhaneni@accenture.com::4c24d998-4943-407a-ac2e-54792b1a54f3" providerId="AD" clId="Web-{FBF2AD44-E75E-49B9-91D5-70195E6FE810}" dt="2022-12-23T08:11:27.206" v="2"/>
          <pc:sldLayoutMkLst>
            <pc:docMk/>
            <pc:sldMasterMk cId="286210591" sldId="2147483866"/>
            <pc:sldLayoutMk cId="1701673909" sldId="2147483672"/>
          </pc:sldLayoutMkLst>
        </pc:sldLayoutChg>
        <pc:sldLayoutChg chg="add">
          <pc:chgData name="Vallabhaneni, Sree Kavya" userId="S::sree.k.vallabhaneni@accenture.com::4c24d998-4943-407a-ac2e-54792b1a54f3" providerId="AD" clId="Web-{FBF2AD44-E75E-49B9-91D5-70195E6FE810}" dt="2022-12-23T08:11:27.206" v="2"/>
          <pc:sldLayoutMkLst>
            <pc:docMk/>
            <pc:sldMasterMk cId="286210591" sldId="2147483866"/>
            <pc:sldLayoutMk cId="2487428566" sldId="2147483673"/>
          </pc:sldLayoutMkLst>
        </pc:sldLayoutChg>
        <pc:sldLayoutChg chg="add">
          <pc:chgData name="Vallabhaneni, Sree Kavya" userId="S::sree.k.vallabhaneni@accenture.com::4c24d998-4943-407a-ac2e-54792b1a54f3" providerId="AD" clId="Web-{FBF2AD44-E75E-49B9-91D5-70195E6FE810}" dt="2022-12-23T08:11:27.206" v="2"/>
          <pc:sldLayoutMkLst>
            <pc:docMk/>
            <pc:sldMasterMk cId="286210591" sldId="2147483866"/>
            <pc:sldLayoutMk cId="1863379924" sldId="2147483676"/>
          </pc:sldLayoutMkLst>
        </pc:sldLayoutChg>
        <pc:sldLayoutChg chg="add">
          <pc:chgData name="Vallabhaneni, Sree Kavya" userId="S::sree.k.vallabhaneni@accenture.com::4c24d998-4943-407a-ac2e-54792b1a54f3" providerId="AD" clId="Web-{FBF2AD44-E75E-49B9-91D5-70195E6FE810}" dt="2022-12-23T08:11:27.206" v="2"/>
          <pc:sldLayoutMkLst>
            <pc:docMk/>
            <pc:sldMasterMk cId="286210591" sldId="2147483866"/>
            <pc:sldLayoutMk cId="692024523" sldId="2147483677"/>
          </pc:sldLayoutMkLst>
        </pc:sldLayoutChg>
      </pc:sldMasterChg>
    </pc:docChg>
  </pc:docChgLst>
  <pc:docChgLst>
    <pc:chgData name="Vallabhaneni, Sree Kavya" userId="4c24d998-4943-407a-ac2e-54792b1a54f3" providerId="ADAL" clId="{6E0510F1-0E6C-470E-9733-9886EAD9C4C4}"/>
    <pc:docChg chg="custSel addSld modSld">
      <pc:chgData name="Vallabhaneni, Sree Kavya" userId="4c24d998-4943-407a-ac2e-54792b1a54f3" providerId="ADAL" clId="{6E0510F1-0E6C-470E-9733-9886EAD9C4C4}" dt="2022-12-27T11:30:53.001" v="3"/>
      <pc:docMkLst>
        <pc:docMk/>
      </pc:docMkLst>
      <pc:sldChg chg="add">
        <pc:chgData name="Vallabhaneni, Sree Kavya" userId="4c24d998-4943-407a-ac2e-54792b1a54f3" providerId="ADAL" clId="{6E0510F1-0E6C-470E-9733-9886EAD9C4C4}" dt="2022-12-27T11:30:53.001" v="3"/>
        <pc:sldMkLst>
          <pc:docMk/>
          <pc:sldMk cId="1288059820" sldId="385"/>
        </pc:sldMkLst>
      </pc:sldChg>
      <pc:sldChg chg="delSp mod">
        <pc:chgData name="Vallabhaneni, Sree Kavya" userId="4c24d998-4943-407a-ac2e-54792b1a54f3" providerId="ADAL" clId="{6E0510F1-0E6C-470E-9733-9886EAD9C4C4}" dt="2022-12-27T11:30:45.170" v="2" actId="478"/>
        <pc:sldMkLst>
          <pc:docMk/>
          <pc:sldMk cId="1250148004" sldId="2146846960"/>
        </pc:sldMkLst>
        <pc:spChg chg="del">
          <ac:chgData name="Vallabhaneni, Sree Kavya" userId="4c24d998-4943-407a-ac2e-54792b1a54f3" providerId="ADAL" clId="{6E0510F1-0E6C-470E-9733-9886EAD9C4C4}" dt="2022-12-27T11:30:45.170" v="2" actId="478"/>
          <ac:spMkLst>
            <pc:docMk/>
            <pc:sldMk cId="1250148004" sldId="2146846960"/>
            <ac:spMk id="24" creationId="{B0CB48DB-6D43-46AC-9683-976D75ED45C9}"/>
          </ac:spMkLst>
        </pc:spChg>
      </pc:sldChg>
      <pc:sldChg chg="delSp modSp mod">
        <pc:chgData name="Vallabhaneni, Sree Kavya" userId="4c24d998-4943-407a-ac2e-54792b1a54f3" providerId="ADAL" clId="{6E0510F1-0E6C-470E-9733-9886EAD9C4C4}" dt="2022-12-27T08:59:16.790" v="1" actId="478"/>
        <pc:sldMkLst>
          <pc:docMk/>
          <pc:sldMk cId="2932013431" sldId="2146847389"/>
        </pc:sldMkLst>
        <pc:spChg chg="del mod">
          <ac:chgData name="Vallabhaneni, Sree Kavya" userId="4c24d998-4943-407a-ac2e-54792b1a54f3" providerId="ADAL" clId="{6E0510F1-0E6C-470E-9733-9886EAD9C4C4}" dt="2022-12-27T08:59:16.790" v="1" actId="478"/>
          <ac:spMkLst>
            <pc:docMk/>
            <pc:sldMk cId="2932013431" sldId="2146847389"/>
            <ac:spMk id="25" creationId="{EE28B996-DCE3-47B1-897E-560FFF4397B7}"/>
          </ac:spMkLst>
        </pc:spChg>
      </pc:sldChg>
    </pc:docChg>
  </pc:docChgLst>
  <pc:docChgLst>
    <pc:chgData name="Nathwani, Shaalin" userId="179094a6-4abf-4d42-bdb4-87f1e9b4588c" providerId="ADAL" clId="{047D89C3-BCF5-4646-BDF1-6FD5681D9347}"/>
    <pc:docChg chg="custSel modSld">
      <pc:chgData name="Nathwani, Shaalin" userId="179094a6-4abf-4d42-bdb4-87f1e9b4588c" providerId="ADAL" clId="{047D89C3-BCF5-4646-BDF1-6FD5681D9347}" dt="2021-11-17T09:39:51.648" v="80" actId="13926"/>
      <pc:docMkLst>
        <pc:docMk/>
      </pc:docMkLst>
      <pc:sldChg chg="modSp mod">
        <pc:chgData name="Nathwani, Shaalin" userId="179094a6-4abf-4d42-bdb4-87f1e9b4588c" providerId="ADAL" clId="{047D89C3-BCF5-4646-BDF1-6FD5681D9347}" dt="2021-11-17T09:39:51.648" v="80" actId="13926"/>
        <pc:sldMkLst>
          <pc:docMk/>
          <pc:sldMk cId="4011072619" sldId="2146847328"/>
        </pc:sldMkLst>
        <pc:spChg chg="mod">
          <ac:chgData name="Nathwani, Shaalin" userId="179094a6-4abf-4d42-bdb4-87f1e9b4588c" providerId="ADAL" clId="{047D89C3-BCF5-4646-BDF1-6FD5681D9347}" dt="2021-11-17T09:39:51.648" v="80" actId="13926"/>
          <ac:spMkLst>
            <pc:docMk/>
            <pc:sldMk cId="4011072619" sldId="2146847328"/>
            <ac:spMk id="10" creationId="{744037D0-53EE-4908-9B4E-4AF6F7093968}"/>
          </ac:spMkLst>
        </pc:spChg>
        <pc:spChg chg="mod">
          <ac:chgData name="Nathwani, Shaalin" userId="179094a6-4abf-4d42-bdb4-87f1e9b4588c" providerId="ADAL" clId="{047D89C3-BCF5-4646-BDF1-6FD5681D9347}" dt="2021-11-17T09:39:35.189" v="79" actId="20577"/>
          <ac:spMkLst>
            <pc:docMk/>
            <pc:sldMk cId="4011072619" sldId="2146847328"/>
            <ac:spMk id="12" creationId="{195791EC-B1FC-460A-9398-0B038A8825F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628977-2526-4F5B-A934-60CC0E8A2674}" type="datetimeFigureOut">
              <a:rPr lang="en-US" smtClean="0"/>
              <a:t>1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05667C-2930-4086-862B-2A0A0E20F65B}" type="slidenum">
              <a:rPr lang="en-US" smtClean="0"/>
              <a:t>‹#›</a:t>
            </a:fld>
            <a:endParaRPr lang="en-US"/>
          </a:p>
        </p:txBody>
      </p:sp>
    </p:spTree>
    <p:extLst>
      <p:ext uri="{BB962C8B-B14F-4D97-AF65-F5344CB8AC3E}">
        <p14:creationId xmlns:p14="http://schemas.microsoft.com/office/powerpoint/2010/main" val="1900944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hanges Requir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Industry Nam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Industry Picture</a:t>
            </a:r>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671A3-D828-49BA-8FC4-B32B908F5042}" type="slidenum">
              <a:rPr kumimoji="0" lang="fr-FR" sz="1400" b="0" i="0" u="none" strike="noStrike" kern="1200" cap="none" spc="-1" normalizeH="0" baseline="0" noProof="0" smtClean="0">
                <a:ln>
                  <a:noFill/>
                </a:ln>
                <a:solidFill>
                  <a:prstClr val="black"/>
                </a:solidFill>
                <a:effectLst/>
                <a:uLnTx/>
                <a:uFillTx/>
                <a:latin typeface="Times New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1960347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hanges Requir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Enter industry</a:t>
            </a:r>
          </a:p>
          <a:p>
            <a:endParaRPr lang="en-US"/>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671A3-D828-49BA-8FC4-B32B908F5042}" type="slidenum">
              <a:rPr kumimoji="0" lang="fr-FR" sz="1400" b="0" i="0" u="none" strike="noStrike" kern="1200" cap="none" spc="-1" normalizeH="0" baseline="0" noProof="0" smtClean="0">
                <a:ln>
                  <a:noFill/>
                </a:ln>
                <a:solidFill>
                  <a:prstClr val="black"/>
                </a:solidFill>
                <a:effectLst/>
                <a:uLnTx/>
                <a:uFillTx/>
                <a:latin typeface="Times New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772186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hanges Require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Enter industry</a:t>
            </a:r>
          </a:p>
          <a:p>
            <a:endParaRPr lang="en-US"/>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671A3-D828-49BA-8FC4-B32B908F5042}" type="slidenum">
              <a:rPr kumimoji="0" lang="fr-FR" sz="1400" b="0" i="0" u="none" strike="noStrike" kern="1200" cap="none" spc="-1" normalizeH="0" baseline="0" noProof="0" smtClean="0">
                <a:ln>
                  <a:noFill/>
                </a:ln>
                <a:solidFill>
                  <a:prstClr val="black"/>
                </a:solidFill>
                <a:effectLst/>
                <a:uLnTx/>
                <a:uFillTx/>
                <a:latin typeface="Times New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2880283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r>
              <a:rPr lang="en-US"/>
              <a:t>No Changes</a:t>
            </a:r>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671A3-D828-49BA-8FC4-B32B908F5042}" type="slidenum">
              <a:rPr kumimoji="0" lang="fr-FR" sz="1400" b="0" i="0" u="none" strike="noStrike" kern="1200" cap="none" spc="-1" normalizeH="0" baseline="0" noProof="0" smtClean="0">
                <a:ln>
                  <a:noFill/>
                </a:ln>
                <a:solidFill>
                  <a:prstClr val="black"/>
                </a:solidFill>
                <a:effectLst/>
                <a:uLnTx/>
                <a:uFillTx/>
                <a:latin typeface="Times New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468719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631A6D-9198-494A-8820-F4BC91E456A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872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p>
        </p:txBody>
      </p:sp>
      <p:sp>
        <p:nvSpPr>
          <p:cNvPr id="4" name="Slide Number Placeholder 3"/>
          <p:cNvSpPr>
            <a:spLocks noGrp="1"/>
          </p:cNvSpPr>
          <p:nvPr>
            <p:ph type="sldNum" sz="quarter" idx="5"/>
          </p:nvPr>
        </p:nvSpPr>
        <p:spPr/>
        <p:txBody>
          <a:bodyPr/>
          <a:lstStyle/>
          <a:p>
            <a:fld id="{2F05667C-2930-4086-862B-2A0A0E20F65B}" type="slidenum">
              <a:rPr lang="en-US" smtClean="0"/>
              <a:t>21</a:t>
            </a:fld>
            <a:endParaRPr lang="en-US"/>
          </a:p>
        </p:txBody>
      </p:sp>
    </p:spTree>
    <p:extLst>
      <p:ext uri="{BB962C8B-B14F-4D97-AF65-F5344CB8AC3E}">
        <p14:creationId xmlns:p14="http://schemas.microsoft.com/office/powerpoint/2010/main" val="74074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p>
        </p:txBody>
      </p:sp>
      <p:sp>
        <p:nvSpPr>
          <p:cNvPr id="4" name="Slide Number Placeholder 3"/>
          <p:cNvSpPr>
            <a:spLocks noGrp="1"/>
          </p:cNvSpPr>
          <p:nvPr>
            <p:ph type="sldNum" sz="quarter" idx="5"/>
          </p:nvPr>
        </p:nvSpPr>
        <p:spPr/>
        <p:txBody>
          <a:bodyPr/>
          <a:lstStyle/>
          <a:p>
            <a:fld id="{2F05667C-2930-4086-862B-2A0A0E20F65B}" type="slidenum">
              <a:rPr lang="en-US" smtClean="0"/>
              <a:t>22</a:t>
            </a:fld>
            <a:endParaRPr lang="en-US"/>
          </a:p>
        </p:txBody>
      </p:sp>
    </p:spTree>
    <p:extLst>
      <p:ext uri="{BB962C8B-B14F-4D97-AF65-F5344CB8AC3E}">
        <p14:creationId xmlns:p14="http://schemas.microsoft.com/office/powerpoint/2010/main" val="2906695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p>
        </p:txBody>
      </p:sp>
      <p:sp>
        <p:nvSpPr>
          <p:cNvPr id="4" name="Slide Number Placeholder 3"/>
          <p:cNvSpPr>
            <a:spLocks noGrp="1"/>
          </p:cNvSpPr>
          <p:nvPr>
            <p:ph type="sldNum" sz="quarter" idx="5"/>
          </p:nvPr>
        </p:nvSpPr>
        <p:spPr/>
        <p:txBody>
          <a:bodyPr/>
          <a:lstStyle/>
          <a:p>
            <a:fld id="{2F05667C-2930-4086-862B-2A0A0E20F65B}" type="slidenum">
              <a:rPr lang="en-US" smtClean="0"/>
              <a:t>23</a:t>
            </a:fld>
            <a:endParaRPr lang="en-US"/>
          </a:p>
        </p:txBody>
      </p:sp>
    </p:spTree>
    <p:extLst>
      <p:ext uri="{BB962C8B-B14F-4D97-AF65-F5344CB8AC3E}">
        <p14:creationId xmlns:p14="http://schemas.microsoft.com/office/powerpoint/2010/main" val="1499959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631A6D-9198-494A-8820-F4BC91E456A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156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Basic - Dark, White Text">
    <p:bg>
      <p:bgPr>
        <a:solidFill>
          <a:schemeClr val="accent3"/>
        </a:solidFill>
        <a:effectLst/>
      </p:bgPr>
    </p:bg>
    <p:spTree>
      <p:nvGrpSpPr>
        <p:cNvPr id="1" name=""/>
        <p:cNvGrpSpPr/>
        <p:nvPr/>
      </p:nvGrpSpPr>
      <p:grpSpPr>
        <a:xfrm>
          <a:off x="0" y="0"/>
          <a:ext cx="0" cy="0"/>
          <a:chOff x="0" y="0"/>
          <a:chExt cx="0" cy="0"/>
        </a:xfrm>
      </p:grpSpPr>
      <p:pic>
        <p:nvPicPr>
          <p:cNvPr id="14" name="bg object 16">
            <a:extLst>
              <a:ext uri="{FF2B5EF4-FFF2-40B4-BE49-F238E27FC236}">
                <a16:creationId xmlns:a16="http://schemas.microsoft.com/office/drawing/2014/main" id="{FBE6A913-53AC-40EE-80A1-FFC0D7E2C264}"/>
              </a:ext>
            </a:extLst>
          </p:cNvPr>
          <p:cNvPicPr>
            <a:picLocks/>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138863"/>
          </a:xfrm>
          <a:prstGeom prst="rect">
            <a:avLst/>
          </a:prstGeom>
        </p:spPr>
      </p:pic>
      <p:pic>
        <p:nvPicPr>
          <p:cNvPr id="15" name="object 4">
            <a:extLst>
              <a:ext uri="{FF2B5EF4-FFF2-40B4-BE49-F238E27FC236}">
                <a16:creationId xmlns:a16="http://schemas.microsoft.com/office/drawing/2014/main" id="{C9542B3C-B83D-4EEC-89B9-7797FDF930C4}"/>
              </a:ext>
            </a:extLst>
          </p:cNvPr>
          <p:cNvPicPr/>
          <p:nvPr userDrawn="1"/>
        </p:nvPicPr>
        <p:blipFill>
          <a:blip r:embed="rId3" cstate="print"/>
          <a:stretch>
            <a:fillRect/>
          </a:stretch>
        </p:blipFill>
        <p:spPr>
          <a:xfrm>
            <a:off x="0" y="6140720"/>
            <a:ext cx="12193816" cy="717280"/>
          </a:xfrm>
          <a:prstGeom prst="rect">
            <a:avLst/>
          </a:prstGeom>
        </p:spPr>
      </p:pic>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747880" y="2157369"/>
            <a:ext cx="7997521" cy="1652632"/>
          </a:xfrm>
        </p:spPr>
        <p:txBody>
          <a:bodyPr anchor="b"/>
          <a:lstStyle>
            <a:lvl1pPr marL="11502" marR="389931" algn="l" defTabSz="914400" rtl="0" eaLnBrk="1" latinLnBrk="0" hangingPunct="1">
              <a:lnSpc>
                <a:spcPct val="70500"/>
              </a:lnSpc>
              <a:spcBef>
                <a:spcPts val="2758"/>
              </a:spcBef>
              <a:buNone/>
              <a:defRPr lang="en-US" sz="7563" b="0" i="0" kern="1200" spc="-150" dirty="0">
                <a:solidFill>
                  <a:schemeClr val="tx1"/>
                </a:solidFill>
                <a:latin typeface="+mj-lt"/>
                <a:ea typeface="+mj-ea"/>
                <a:cs typeface="Graphik"/>
              </a:defRPr>
            </a:lvl1pPr>
          </a:lstStyle>
          <a:p>
            <a:r>
              <a:rPr lang="en-US"/>
              <a:t>Heading </a:t>
            </a:r>
            <a:br>
              <a:rPr lang="en-US"/>
            </a:br>
            <a:r>
              <a:rPr lang="en-US"/>
              <a:t>goes here</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747881" y="4000500"/>
            <a:ext cx="5805320" cy="864211"/>
          </a:xfrm>
        </p:spPr>
        <p:txBody>
          <a:bodyPr/>
          <a:lstStyle>
            <a:lvl1pPr marL="11502" marR="4601" indent="0" algn="l" defTabSz="914400" rtl="0" eaLnBrk="1" latinLnBrk="0" hangingPunct="1">
              <a:lnSpc>
                <a:spcPct val="85000"/>
              </a:lnSpc>
              <a:spcBef>
                <a:spcPts val="842"/>
              </a:spcBef>
              <a:spcAft>
                <a:spcPts val="0"/>
              </a:spcAft>
              <a:buNone/>
              <a:defRPr lang="en-US" sz="2800" b="0" i="0" kern="1200" spc="-103" dirty="0">
                <a:solidFill>
                  <a:schemeClr val="tx1"/>
                </a:solidFill>
                <a:latin typeface="Graphik Semibold"/>
                <a:ea typeface="+mj-ea"/>
                <a:cs typeface="Graphik Semi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747880"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7140DB58-C382-4D4A-B4C9-306C0CDE029A}" type="datetime2">
              <a:rPr lang="en-US" smtClean="0"/>
              <a:t>Wednesday, November 8, 2023</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747880"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6" name="TextBox 15">
            <a:extLst>
              <a:ext uri="{FF2B5EF4-FFF2-40B4-BE49-F238E27FC236}">
                <a16:creationId xmlns:a16="http://schemas.microsoft.com/office/drawing/2014/main" id="{E5395A3B-D1FC-4144-87EB-0814533E3CDA}"/>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tx1"/>
                </a:solidFill>
              </a:rPr>
              <a:t>Copyright © 2022 Accenture. All rights reserved.</a:t>
            </a:r>
            <a:endParaRPr lang="en-US" noProof="0" dirty="0">
              <a:solidFill>
                <a:schemeClr val="tx1"/>
              </a:solidFill>
            </a:endParaRPr>
          </a:p>
        </p:txBody>
      </p:sp>
      <p:sp>
        <p:nvSpPr>
          <p:cNvPr id="18" name="Slide Number Placeholder 6">
            <a:extLst>
              <a:ext uri="{FF2B5EF4-FFF2-40B4-BE49-F238E27FC236}">
                <a16:creationId xmlns:a16="http://schemas.microsoft.com/office/drawing/2014/main" id="{EC1F7B45-CB41-46DB-A9DA-89C9EC0C85DD}"/>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tx1"/>
                </a:solidFill>
              </a:rPr>
              <a:pPr algn="r" defTabSz="228600">
                <a:spcAft>
                  <a:spcPts val="1200"/>
                </a:spcAft>
              </a:pPr>
              <a:t>‹#›</a:t>
            </a:fld>
            <a:endParaRPr lang="en-ZA">
              <a:solidFill>
                <a:schemeClr val="tx1"/>
              </a:solidFill>
            </a:endParaRPr>
          </a:p>
        </p:txBody>
      </p:sp>
      <p:pic>
        <p:nvPicPr>
          <p:cNvPr id="17" name="Graphic 5">
            <a:extLst>
              <a:ext uri="{FF2B5EF4-FFF2-40B4-BE49-F238E27FC236}">
                <a16:creationId xmlns:a16="http://schemas.microsoft.com/office/drawing/2014/main" id="{01A84412-295D-4008-BC64-089E7D886C2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46064" y="385202"/>
            <a:ext cx="1884233" cy="498015"/>
          </a:xfrm>
          <a:prstGeom prst="rect">
            <a:avLst/>
          </a:prstGeom>
        </p:spPr>
      </p:pic>
      <p:sp>
        <p:nvSpPr>
          <p:cNvPr id="23" name="Rectangle 22">
            <a:extLst>
              <a:ext uri="{FF2B5EF4-FFF2-40B4-BE49-F238E27FC236}">
                <a16:creationId xmlns:a16="http://schemas.microsoft.com/office/drawing/2014/main" id="{959C33C6-B007-4B0C-9670-999768D28E14}"/>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tx1">
                    <a:alpha val="75000"/>
                  </a:schemeClr>
                </a:solidFill>
              </a:rPr>
              <a:t>Enterprise Technology Blueprint</a:t>
            </a:r>
            <a:endParaRPr lang="en-US" sz="800" noProof="0">
              <a:solidFill>
                <a:schemeClr val="tx1">
                  <a:alpha val="75000"/>
                </a:schemeClr>
              </a:solidFill>
            </a:endParaRPr>
          </a:p>
        </p:txBody>
      </p:sp>
      <p:pic>
        <p:nvPicPr>
          <p:cNvPr id="24" name="Picture 23">
            <a:extLst>
              <a:ext uri="{FF2B5EF4-FFF2-40B4-BE49-F238E27FC236}">
                <a16:creationId xmlns:a16="http://schemas.microsoft.com/office/drawing/2014/main" id="{9303D9BD-4DEC-447D-8BF0-34A04D5B2AC8}"/>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13671849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Blank - L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68DCE23-836E-4C74-A1B9-99A04D9D39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
          <a:stretch/>
        </p:blipFill>
        <p:spPr>
          <a:xfrm>
            <a:off x="1185" y="0"/>
            <a:ext cx="4251501" cy="6858000"/>
          </a:xfrm>
          <a:prstGeom prst="rect">
            <a:avLst/>
          </a:prstGeom>
        </p:spPr>
      </p:pic>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4419600" y="381000"/>
            <a:ext cx="7391400"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4419600" y="962524"/>
            <a:ext cx="7391400" cy="215444"/>
          </a:xfrm>
          <a:noFill/>
        </p:spPr>
        <p:txBody>
          <a:bodyPr wrap="square" lIns="0" tIns="0" rIns="0" bIns="0" rtlCol="0">
            <a:spAutoFit/>
          </a:bodyPr>
          <a:lstStyle>
            <a:lvl1pPr>
              <a:defRPr lang="en-US" sz="1400" b="0" dirty="0" smtClean="0"/>
            </a:lvl1pPr>
          </a:lstStyle>
          <a:p>
            <a:pPr lvl="0">
              <a:spcAft>
                <a:spcPts val="1200"/>
              </a:spcAft>
            </a:pPr>
            <a:r>
              <a:rPr lang="en-US"/>
              <a:t>Click to edit Master text styles</a:t>
            </a:r>
          </a:p>
        </p:txBody>
      </p:sp>
      <p:pic>
        <p:nvPicPr>
          <p:cNvPr id="11" name="Picture 10">
            <a:extLst>
              <a:ext uri="{FF2B5EF4-FFF2-40B4-BE49-F238E27FC236}">
                <a16:creationId xmlns:a16="http://schemas.microsoft.com/office/drawing/2014/main" id="{D8DC67D3-770D-41E1-932B-2E44E5E9121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2" name="TextBox 11">
            <a:extLst>
              <a:ext uri="{FF2B5EF4-FFF2-40B4-BE49-F238E27FC236}">
                <a16:creationId xmlns:a16="http://schemas.microsoft.com/office/drawing/2014/main" id="{04F61BEA-F2BA-40EC-B4EA-39D05E296CAF}"/>
              </a:ext>
            </a:extLst>
          </p:cNvPr>
          <p:cNvSpPr txBox="1"/>
          <p:nvPr userDrawn="1"/>
        </p:nvSpPr>
        <p:spPr>
          <a:xfrm>
            <a:off x="700314" y="6522125"/>
            <a:ext cx="1578958" cy="123111"/>
          </a:xfrm>
          <a:prstGeom prst="rect">
            <a:avLst/>
          </a:prstGeom>
          <a:noFill/>
        </p:spPr>
        <p:txBody>
          <a:bodyPr wrap="none" lIns="0" tIns="0" rIns="0" bIns="0" rtlCol="0" anchor="ctr">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noProof="0">
                <a:solidFill>
                  <a:schemeClr val="bg1">
                    <a:alpha val="75000"/>
                  </a:schemeClr>
                </a:solidFill>
              </a:rPr>
              <a:t>Enterprise Technology Blueprint</a:t>
            </a:r>
            <a:endParaRPr lang="en-US" sz="800" noProof="0">
              <a:solidFill>
                <a:schemeClr val="bg1">
                  <a:alpha val="75000"/>
                </a:schemeClr>
              </a:solidFill>
            </a:endParaRPr>
          </a:p>
        </p:txBody>
      </p:sp>
    </p:spTree>
    <p:extLst>
      <p:ext uri="{BB962C8B-B14F-4D97-AF65-F5344CB8AC3E}">
        <p14:creationId xmlns:p14="http://schemas.microsoft.com/office/powerpoint/2010/main" val="6920245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4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Tree>
    <p:extLst>
      <p:ext uri="{BB962C8B-B14F-4D97-AF65-F5344CB8AC3E}">
        <p14:creationId xmlns:p14="http://schemas.microsoft.com/office/powerpoint/2010/main" val="3357513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7949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pic>
        <p:nvPicPr>
          <p:cNvPr id="16" name="object 4">
            <a:extLst>
              <a:ext uri="{FF2B5EF4-FFF2-40B4-BE49-F238E27FC236}">
                <a16:creationId xmlns:a16="http://schemas.microsoft.com/office/drawing/2014/main" id="{4AF08A79-A860-44E1-91DF-01E6721363D9}"/>
              </a:ext>
            </a:extLst>
          </p:cNvPr>
          <p:cNvPicPr/>
          <p:nvPr userDrawn="1"/>
        </p:nvPicPr>
        <p:blipFill>
          <a:blip r:embed="rId2" cstate="print"/>
          <a:stretch>
            <a:fillRect/>
          </a:stretch>
        </p:blipFill>
        <p:spPr>
          <a:xfrm>
            <a:off x="0" y="6140720"/>
            <a:ext cx="12193816" cy="717280"/>
          </a:xfrm>
          <a:prstGeom prst="rect">
            <a:avLst/>
          </a:prstGeom>
        </p:spPr>
      </p:pic>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087181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1"/>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057868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1"/>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grpSp>
        <p:nvGrpSpPr>
          <p:cNvPr id="11" name="Group 10">
            <a:extLst>
              <a:ext uri="{FF2B5EF4-FFF2-40B4-BE49-F238E27FC236}">
                <a16:creationId xmlns:a16="http://schemas.microsoft.com/office/drawing/2014/main" id="{A2A7FC3F-E3EA-4AC1-957F-25A60C50D373}"/>
              </a:ext>
            </a:extLst>
          </p:cNvPr>
          <p:cNvGrpSpPr/>
          <p:nvPr userDrawn="1"/>
        </p:nvGrpSpPr>
        <p:grpSpPr>
          <a:xfrm>
            <a:off x="375349" y="1380840"/>
            <a:ext cx="3751898" cy="4362208"/>
            <a:chOff x="690562" y="1380840"/>
            <a:chExt cx="3751898" cy="4362208"/>
          </a:xfrm>
        </p:grpSpPr>
        <p:grpSp>
          <p:nvGrpSpPr>
            <p:cNvPr id="12" name="Group 11">
              <a:extLst>
                <a:ext uri="{FF2B5EF4-FFF2-40B4-BE49-F238E27FC236}">
                  <a16:creationId xmlns:a16="http://schemas.microsoft.com/office/drawing/2014/main" id="{AFF01B98-2924-41B3-93D6-8468D57A4D49}"/>
                </a:ext>
              </a:extLst>
            </p:cNvPr>
            <p:cNvGrpSpPr/>
            <p:nvPr/>
          </p:nvGrpSpPr>
          <p:grpSpPr>
            <a:xfrm>
              <a:off x="690562" y="1380840"/>
              <a:ext cx="3751898" cy="4362208"/>
              <a:chOff x="690562" y="1380840"/>
              <a:chExt cx="3751898" cy="4362208"/>
            </a:xfrm>
          </p:grpSpPr>
          <p:sp>
            <p:nvSpPr>
              <p:cNvPr id="14" name="Rectangle 13">
                <a:extLst>
                  <a:ext uri="{FF2B5EF4-FFF2-40B4-BE49-F238E27FC236}">
                    <a16:creationId xmlns:a16="http://schemas.microsoft.com/office/drawing/2014/main" id="{C8949E40-18BD-4AB5-94F1-98242C70112C}"/>
                  </a:ext>
                </a:extLst>
              </p:cNvPr>
              <p:cNvSpPr>
                <a:spLocks noChangeAspect="1"/>
              </p:cNvSpPr>
              <p:nvPr/>
            </p:nvSpPr>
            <p:spPr bwMode="auto">
              <a:xfrm rot="16200000">
                <a:off x="1603300" y="3398468"/>
                <a:ext cx="4357440" cy="331710"/>
              </a:xfrm>
              <a:prstGeom prst="rect">
                <a:avLst/>
              </a:prstGeom>
              <a:solidFill>
                <a:schemeClr val="bg2"/>
              </a:solidFill>
              <a:ln w="3175" cap="flat" cmpd="sng" algn="ctr">
                <a:noFill/>
                <a:prstDash val="solid"/>
              </a:ln>
              <a:effectLst/>
            </p:spPr>
            <p:txBody>
              <a:bodyPr vert="horz" wrap="square" lIns="3708000" tIns="108000" rIns="72000" bIns="108000" rtlCol="0" anchor="ctr"/>
              <a:lstStyle/>
              <a:p>
                <a:pPr indent="-85669"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9. Information Foundation</a:t>
                </a:r>
              </a:p>
            </p:txBody>
          </p:sp>
          <p:sp>
            <p:nvSpPr>
              <p:cNvPr id="15" name="Rectangle 59">
                <a:extLst>
                  <a:ext uri="{FF2B5EF4-FFF2-40B4-BE49-F238E27FC236}">
                    <a16:creationId xmlns:a16="http://schemas.microsoft.com/office/drawing/2014/main" id="{CAA13E66-C25A-4B65-ABFD-77DD14E259D4}"/>
                  </a:ext>
                </a:extLst>
              </p:cNvPr>
              <p:cNvSpPr>
                <a:spLocks noChangeArrowheads="1"/>
              </p:cNvSpPr>
              <p:nvPr/>
            </p:nvSpPr>
            <p:spPr bwMode="gray">
              <a:xfrm>
                <a:off x="3660682" y="2072640"/>
                <a:ext cx="242676" cy="360605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9.1 Information Foundation</a:t>
                </a:r>
              </a:p>
            </p:txBody>
          </p:sp>
          <p:sp>
            <p:nvSpPr>
              <p:cNvPr id="16" name="Rectangle 15">
                <a:extLst>
                  <a:ext uri="{FF2B5EF4-FFF2-40B4-BE49-F238E27FC236}">
                    <a16:creationId xmlns:a16="http://schemas.microsoft.com/office/drawing/2014/main" id="{4BAA894C-0212-4875-9A70-3EB2F733901A}"/>
                  </a:ext>
                </a:extLst>
              </p:cNvPr>
              <p:cNvSpPr>
                <a:spLocks noChangeAspect="1"/>
              </p:cNvSpPr>
              <p:nvPr/>
            </p:nvSpPr>
            <p:spPr bwMode="auto">
              <a:xfrm rot="16200000">
                <a:off x="1255863" y="3424386"/>
                <a:ext cx="4357443" cy="279874"/>
              </a:xfrm>
              <a:prstGeom prst="rect">
                <a:avLst/>
              </a:prstGeom>
              <a:solidFill>
                <a:schemeClr val="bg2"/>
              </a:solidFill>
              <a:ln w="3175" cap="flat" cmpd="sng" algn="ctr">
                <a:noFill/>
                <a:prstDash val="solid"/>
              </a:ln>
              <a:effectLst/>
            </p:spPr>
            <p:txBody>
              <a:bodyPr vert="horz" wrap="square" lIns="3708000" tIns="0" rIns="0" bIns="0" rtlCol="0" anchor="ctr"/>
              <a:lstStyle/>
              <a:p>
                <a:pPr marL="0" marR="0" lvl="0" indent="-85669"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8. Business Integration </a:t>
                </a:r>
              </a:p>
            </p:txBody>
          </p:sp>
          <p:grpSp>
            <p:nvGrpSpPr>
              <p:cNvPr id="21" name="Group 20">
                <a:extLst>
                  <a:ext uri="{FF2B5EF4-FFF2-40B4-BE49-F238E27FC236}">
                    <a16:creationId xmlns:a16="http://schemas.microsoft.com/office/drawing/2014/main" id="{B66D1B3C-BAD2-401B-A7B2-4A1FE6E08692}"/>
                  </a:ext>
                </a:extLst>
              </p:cNvPr>
              <p:cNvGrpSpPr/>
              <p:nvPr/>
            </p:nvGrpSpPr>
            <p:grpSpPr>
              <a:xfrm>
                <a:off x="3989518" y="1385604"/>
                <a:ext cx="452942" cy="4357444"/>
                <a:chOff x="3989518" y="1385604"/>
                <a:chExt cx="452942" cy="4357444"/>
              </a:xfrm>
            </p:grpSpPr>
            <p:sp>
              <p:nvSpPr>
                <p:cNvPr id="45" name="Rectangle 44">
                  <a:extLst>
                    <a:ext uri="{FF2B5EF4-FFF2-40B4-BE49-F238E27FC236}">
                      <a16:creationId xmlns:a16="http://schemas.microsoft.com/office/drawing/2014/main" id="{5A755C7D-6DE0-4DC9-8ADB-66061E4F7F41}"/>
                    </a:ext>
                  </a:extLst>
                </p:cNvPr>
                <p:cNvSpPr>
                  <a:spLocks noChangeAspect="1"/>
                </p:cNvSpPr>
                <p:nvPr/>
              </p:nvSpPr>
              <p:spPr bwMode="auto">
                <a:xfrm rot="16200000">
                  <a:off x="2037267" y="3337855"/>
                  <a:ext cx="4357444" cy="452942"/>
                </a:xfrm>
                <a:prstGeom prst="rect">
                  <a:avLst/>
                </a:prstGeom>
                <a:solidFill>
                  <a:schemeClr val="bg2"/>
                </a:solidFill>
                <a:ln w="3175" cap="flat" cmpd="sng" algn="ctr">
                  <a:noFill/>
                  <a:prstDash val="solid"/>
                </a:ln>
                <a:effectLst/>
              </p:spPr>
              <p:txBody>
                <a:bodyPr vert="horz" wrap="square" lIns="3528000" tIns="72000" rIns="108000" bIns="72000" rtlCol="0" anchor="ctr"/>
                <a:lstStyle/>
                <a:p>
                  <a:pPr indent="-85669" algn="r"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10. Business Insights &amp; Analytics </a:t>
                  </a:r>
                </a:p>
              </p:txBody>
            </p:sp>
            <p:sp>
              <p:nvSpPr>
                <p:cNvPr id="46" name="Rectangle 45">
                  <a:extLst>
                    <a:ext uri="{FF2B5EF4-FFF2-40B4-BE49-F238E27FC236}">
                      <a16:creationId xmlns:a16="http://schemas.microsoft.com/office/drawing/2014/main" id="{5C6C7978-B371-445D-BAB3-DFDDAA8351EF}"/>
                    </a:ext>
                  </a:extLst>
                </p:cNvPr>
                <p:cNvSpPr/>
                <p:nvPr/>
              </p:nvSpPr>
              <p:spPr>
                <a:xfrm>
                  <a:off x="4052005" y="4697885"/>
                  <a:ext cx="327966" cy="9808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4 Analytics Enablers</a:t>
                  </a:r>
                </a:p>
              </p:txBody>
            </p:sp>
            <p:sp>
              <p:nvSpPr>
                <p:cNvPr id="47" name="TextBox 46">
                  <a:extLst>
                    <a:ext uri="{FF2B5EF4-FFF2-40B4-BE49-F238E27FC236}">
                      <a16:creationId xmlns:a16="http://schemas.microsoft.com/office/drawing/2014/main" id="{94D2A98F-70C3-49A6-BEC7-3E0159EC5D4A}"/>
                    </a:ext>
                  </a:extLst>
                </p:cNvPr>
                <p:cNvSpPr txBox="1"/>
                <p:nvPr/>
              </p:nvSpPr>
              <p:spPr>
                <a:xfrm>
                  <a:off x="4053623" y="2072640"/>
                  <a:ext cx="3247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1 Marketing </a:t>
                  </a:r>
                </a:p>
                <a:p>
                  <a:pPr algn="ctr"/>
                  <a:r>
                    <a:rPr lang="en-US" sz="600">
                      <a:solidFill>
                        <a:schemeClr val="tx2"/>
                      </a:solidFill>
                      <a:latin typeface="+mj-lt"/>
                    </a:rPr>
                    <a:t>Analytics </a:t>
                  </a:r>
                </a:p>
              </p:txBody>
            </p:sp>
            <p:sp>
              <p:nvSpPr>
                <p:cNvPr id="48" name="TextBox 47">
                  <a:extLst>
                    <a:ext uri="{FF2B5EF4-FFF2-40B4-BE49-F238E27FC236}">
                      <a16:creationId xmlns:a16="http://schemas.microsoft.com/office/drawing/2014/main" id="{739E6B59-CA1F-4DB5-9860-B03D0861E47B}"/>
                    </a:ext>
                  </a:extLst>
                </p:cNvPr>
                <p:cNvSpPr txBox="1">
                  <a:spLocks/>
                </p:cNvSpPr>
                <p:nvPr/>
              </p:nvSpPr>
              <p:spPr>
                <a:xfrm>
                  <a:off x="4053623" y="2905636"/>
                  <a:ext cx="324730" cy="8711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2  Underwriting</a:t>
                  </a:r>
                </a:p>
                <a:p>
                  <a:pPr algn="ctr"/>
                  <a:r>
                    <a:rPr lang="en-US" sz="600">
                      <a:solidFill>
                        <a:schemeClr val="tx2"/>
                      </a:solidFill>
                      <a:latin typeface="+mj-lt"/>
                    </a:rPr>
                    <a:t>&amp; Product Analytics</a:t>
                  </a:r>
                </a:p>
              </p:txBody>
            </p:sp>
            <p:sp>
              <p:nvSpPr>
                <p:cNvPr id="49" name="AutoShape 48">
                  <a:extLst>
                    <a:ext uri="{FF2B5EF4-FFF2-40B4-BE49-F238E27FC236}">
                      <a16:creationId xmlns:a16="http://schemas.microsoft.com/office/drawing/2014/main" id="{7CF0F15D-22BA-4F70-A7E6-631E6674C6C5}"/>
                    </a:ext>
                  </a:extLst>
                </p:cNvPr>
                <p:cNvSpPr>
                  <a:spLocks noChangeArrowheads="1"/>
                </p:cNvSpPr>
                <p:nvPr/>
              </p:nvSpPr>
              <p:spPr bwMode="gray">
                <a:xfrm>
                  <a:off x="4052773" y="3864890"/>
                  <a:ext cx="3264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3 Operations</a:t>
                  </a:r>
                </a:p>
                <a:p>
                  <a:pPr algn="ctr" eaLnBrk="0" hangingPunct="0">
                    <a:buClr>
                      <a:srgbClr val="4F81BD"/>
                    </a:buClr>
                  </a:pPr>
                  <a:r>
                    <a:rPr lang="en-US" sz="600" b="1" kern="0">
                      <a:solidFill>
                        <a:schemeClr val="tx2"/>
                      </a:solidFill>
                      <a:latin typeface="+mj-lt"/>
                    </a:rPr>
                    <a:t>Analytics</a:t>
                  </a:r>
                </a:p>
              </p:txBody>
            </p:sp>
          </p:grpSp>
          <p:sp>
            <p:nvSpPr>
              <p:cNvPr id="22" name="Rectangle 21">
                <a:extLst>
                  <a:ext uri="{FF2B5EF4-FFF2-40B4-BE49-F238E27FC236}">
                    <a16:creationId xmlns:a16="http://schemas.microsoft.com/office/drawing/2014/main" id="{38DCDD50-21F2-4007-9B34-0124A715C1CE}"/>
                  </a:ext>
                </a:extLst>
              </p:cNvPr>
              <p:cNvSpPr>
                <a:spLocks noChangeAspect="1"/>
              </p:cNvSpPr>
              <p:nvPr/>
            </p:nvSpPr>
            <p:spPr bwMode="auto">
              <a:xfrm>
                <a:off x="696105" y="5125635"/>
                <a:ext cx="2553387" cy="617413"/>
              </a:xfrm>
              <a:prstGeom prst="rect">
                <a:avLst/>
              </a:prstGeom>
              <a:solidFill>
                <a:schemeClr val="bg2"/>
              </a:solidFill>
              <a:ln w="3175" cap="flat" cmpd="sng" algn="ctr">
                <a:noFill/>
                <a:prstDash val="solid"/>
              </a:ln>
              <a:effectLst/>
            </p:spPr>
            <p:txBody>
              <a:bodyPr wrap="square" lIns="108000" tIns="108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7. Enterprise Functions</a:t>
                </a:r>
              </a:p>
            </p:txBody>
          </p:sp>
          <p:sp>
            <p:nvSpPr>
              <p:cNvPr id="23" name="Rectangle 43">
                <a:extLst>
                  <a:ext uri="{FF2B5EF4-FFF2-40B4-BE49-F238E27FC236}">
                    <a16:creationId xmlns:a16="http://schemas.microsoft.com/office/drawing/2014/main" id="{A4599004-07FA-4CAD-BD36-90E579058F13}"/>
                  </a:ext>
                </a:extLst>
              </p:cNvPr>
              <p:cNvSpPr>
                <a:spLocks noChangeArrowheads="1"/>
              </p:cNvSpPr>
              <p:nvPr/>
            </p:nvSpPr>
            <p:spPr bwMode="auto">
              <a:xfrm>
                <a:off x="787401" y="5364024"/>
                <a:ext cx="2417856" cy="303962"/>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7.1 Corporate Functions</a:t>
                </a:r>
              </a:p>
            </p:txBody>
          </p:sp>
          <p:sp>
            <p:nvSpPr>
              <p:cNvPr id="24" name="Rectangle 23">
                <a:extLst>
                  <a:ext uri="{FF2B5EF4-FFF2-40B4-BE49-F238E27FC236}">
                    <a16:creationId xmlns:a16="http://schemas.microsoft.com/office/drawing/2014/main" id="{F289483F-C27D-430B-AC5F-8FDCC42A4E43}"/>
                  </a:ext>
                </a:extLst>
              </p:cNvPr>
              <p:cNvSpPr>
                <a:spLocks noChangeAspect="1"/>
              </p:cNvSpPr>
              <p:nvPr/>
            </p:nvSpPr>
            <p:spPr bwMode="auto">
              <a:xfrm>
                <a:off x="690563" y="1380840"/>
                <a:ext cx="2557678" cy="1206571"/>
              </a:xfrm>
              <a:prstGeom prst="rect">
                <a:avLst/>
              </a:prstGeom>
              <a:solidFill>
                <a:schemeClr val="bg2"/>
              </a:solidFill>
              <a:ln w="3175" cap="flat" cmpd="sng" algn="ctr">
                <a:noFill/>
                <a:prstDash val="solid"/>
              </a:ln>
              <a:effectLst/>
            </p:spPr>
            <p:txBody>
              <a:bodyPr vert="horz" wrap="square" lIns="108000" tIns="72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1. Channel Mgmt.</a:t>
                </a:r>
              </a:p>
            </p:txBody>
          </p:sp>
          <p:sp>
            <p:nvSpPr>
              <p:cNvPr id="25" name="Rectangle 24">
                <a:extLst>
                  <a:ext uri="{FF2B5EF4-FFF2-40B4-BE49-F238E27FC236}">
                    <a16:creationId xmlns:a16="http://schemas.microsoft.com/office/drawing/2014/main" id="{8264505D-24D0-477C-8424-5A3F0D97AC4A}"/>
                  </a:ext>
                </a:extLst>
              </p:cNvPr>
              <p:cNvSpPr>
                <a:spLocks noChangeAspect="1"/>
              </p:cNvSpPr>
              <p:nvPr/>
            </p:nvSpPr>
            <p:spPr bwMode="auto">
              <a:xfrm>
                <a:off x="696106" y="3615896"/>
                <a:ext cx="2553386" cy="1434677"/>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6. Product &amp; Operations</a:t>
                </a:r>
              </a:p>
            </p:txBody>
          </p:sp>
          <p:sp>
            <p:nvSpPr>
              <p:cNvPr id="26" name="Rectangle 25">
                <a:extLst>
                  <a:ext uri="{FF2B5EF4-FFF2-40B4-BE49-F238E27FC236}">
                    <a16:creationId xmlns:a16="http://schemas.microsoft.com/office/drawing/2014/main" id="{59E9F142-93B7-4F5F-B029-F52E10A94913}"/>
                  </a:ext>
                </a:extLst>
              </p:cNvPr>
              <p:cNvSpPr/>
              <p:nvPr/>
            </p:nvSpPr>
            <p:spPr bwMode="auto">
              <a:xfrm>
                <a:off x="787400" y="3835400"/>
                <a:ext cx="2423069" cy="35001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1 </a:t>
                </a:r>
              </a:p>
              <a:p>
                <a:pPr algn="ctr" eaLnBrk="0" hangingPunct="0">
                  <a:buClr>
                    <a:srgbClr val="4F81BD"/>
                  </a:buClr>
                </a:pPr>
                <a:r>
                  <a:rPr lang="en-US" sz="600" b="1" kern="0">
                    <a:solidFill>
                      <a:schemeClr val="tx2"/>
                    </a:solidFill>
                    <a:latin typeface="+mj-lt"/>
                  </a:rPr>
                  <a:t>Cross Capability</a:t>
                </a:r>
              </a:p>
            </p:txBody>
          </p:sp>
          <p:sp>
            <p:nvSpPr>
              <p:cNvPr id="27" name="Rectangle 26">
                <a:extLst>
                  <a:ext uri="{FF2B5EF4-FFF2-40B4-BE49-F238E27FC236}">
                    <a16:creationId xmlns:a16="http://schemas.microsoft.com/office/drawing/2014/main" id="{2681E53D-01D5-401C-A03B-3BA1FD6E881F}"/>
                  </a:ext>
                </a:extLst>
              </p:cNvPr>
              <p:cNvSpPr/>
              <p:nvPr/>
            </p:nvSpPr>
            <p:spPr bwMode="auto">
              <a:xfrm>
                <a:off x="1197589" y="4247352"/>
                <a:ext cx="45334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3 </a:t>
                </a:r>
              </a:p>
              <a:p>
                <a:pPr algn="ctr" eaLnBrk="0" hangingPunct="0">
                  <a:buClr>
                    <a:srgbClr val="4F81BD"/>
                  </a:buClr>
                </a:pPr>
                <a:r>
                  <a:rPr lang="en-US" sz="600" b="1" kern="0">
                    <a:solidFill>
                      <a:schemeClr val="tx2"/>
                    </a:solidFill>
                    <a:latin typeface="+mj-lt"/>
                  </a:rPr>
                  <a:t>Life </a:t>
                </a:r>
              </a:p>
              <a:p>
                <a:pPr algn="ctr" eaLnBrk="0" hangingPunct="0">
                  <a:buClr>
                    <a:srgbClr val="4F81BD"/>
                  </a:buClr>
                </a:pPr>
                <a:r>
                  <a:rPr lang="en-US" sz="600" b="1" kern="0">
                    <a:solidFill>
                      <a:schemeClr val="tx2"/>
                    </a:solidFill>
                    <a:latin typeface="+mj-lt"/>
                  </a:rPr>
                  <a:t>Insurance</a:t>
                </a:r>
              </a:p>
            </p:txBody>
          </p:sp>
          <p:sp>
            <p:nvSpPr>
              <p:cNvPr id="28" name="Rectangle 27">
                <a:extLst>
                  <a:ext uri="{FF2B5EF4-FFF2-40B4-BE49-F238E27FC236}">
                    <a16:creationId xmlns:a16="http://schemas.microsoft.com/office/drawing/2014/main" id="{4BA6B47A-04DB-4463-885D-D991B0F70D12}"/>
                  </a:ext>
                </a:extLst>
              </p:cNvPr>
              <p:cNvSpPr/>
              <p:nvPr/>
            </p:nvSpPr>
            <p:spPr bwMode="auto">
              <a:xfrm>
                <a:off x="1684398" y="4247352"/>
                <a:ext cx="372607"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4 </a:t>
                </a:r>
              </a:p>
              <a:p>
                <a:pPr algn="ctr" eaLnBrk="0" hangingPunct="0">
                  <a:buClr>
                    <a:srgbClr val="4F81BD"/>
                  </a:buClr>
                </a:pPr>
                <a:r>
                  <a:rPr lang="en-US" sz="600" b="1" kern="0">
                    <a:solidFill>
                      <a:schemeClr val="tx2"/>
                    </a:solidFill>
                    <a:latin typeface="+mj-lt"/>
                  </a:rPr>
                  <a:t>Annuity</a:t>
                </a:r>
              </a:p>
            </p:txBody>
          </p:sp>
          <p:sp>
            <p:nvSpPr>
              <p:cNvPr id="29" name="Rectangle 28">
                <a:extLst>
                  <a:ext uri="{FF2B5EF4-FFF2-40B4-BE49-F238E27FC236}">
                    <a16:creationId xmlns:a16="http://schemas.microsoft.com/office/drawing/2014/main" id="{55FBA3DE-8BEC-42F8-B9A6-F44647464EBD}"/>
                  </a:ext>
                </a:extLst>
              </p:cNvPr>
              <p:cNvSpPr/>
              <p:nvPr/>
            </p:nvSpPr>
            <p:spPr bwMode="auto">
              <a:xfrm>
                <a:off x="2090467" y="4247355"/>
                <a:ext cx="474172"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5 </a:t>
                </a:r>
              </a:p>
              <a:p>
                <a:pPr algn="ctr" eaLnBrk="0" hangingPunct="0">
                  <a:buClr>
                    <a:srgbClr val="4F81BD"/>
                  </a:buClr>
                </a:pPr>
                <a:r>
                  <a:rPr lang="en-US" sz="600" b="1" kern="0">
                    <a:solidFill>
                      <a:schemeClr val="tx2"/>
                    </a:solidFill>
                    <a:latin typeface="+mj-lt"/>
                  </a:rPr>
                  <a:t>Group </a:t>
                </a:r>
              </a:p>
              <a:p>
                <a:pPr algn="ctr" eaLnBrk="0" hangingPunct="0">
                  <a:buClr>
                    <a:srgbClr val="4F81BD"/>
                  </a:buClr>
                </a:pPr>
                <a:r>
                  <a:rPr lang="en-US" sz="600" b="1" kern="0">
                    <a:solidFill>
                      <a:schemeClr val="tx2"/>
                    </a:solidFill>
                    <a:latin typeface="+mj-lt"/>
                  </a:rPr>
                  <a:t>Insurance</a:t>
                </a:r>
              </a:p>
            </p:txBody>
          </p:sp>
          <p:sp>
            <p:nvSpPr>
              <p:cNvPr id="30" name="Rectangle 29">
                <a:extLst>
                  <a:ext uri="{FF2B5EF4-FFF2-40B4-BE49-F238E27FC236}">
                    <a16:creationId xmlns:a16="http://schemas.microsoft.com/office/drawing/2014/main" id="{66059F8C-B400-44D1-BD4F-AD4A884C7158}"/>
                  </a:ext>
                </a:extLst>
              </p:cNvPr>
              <p:cNvSpPr/>
              <p:nvPr/>
            </p:nvSpPr>
            <p:spPr bwMode="auto">
              <a:xfrm>
                <a:off x="2598101" y="4247355"/>
                <a:ext cx="612368"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6 </a:t>
                </a:r>
              </a:p>
              <a:p>
                <a:pPr algn="ctr" eaLnBrk="0" hangingPunct="0">
                  <a:buClr>
                    <a:srgbClr val="4F81BD"/>
                  </a:buClr>
                </a:pPr>
                <a:r>
                  <a:rPr lang="en-US" sz="600" b="1" kern="0">
                    <a:solidFill>
                      <a:schemeClr val="tx2"/>
                    </a:solidFill>
                    <a:latin typeface="+mj-lt"/>
                  </a:rPr>
                  <a:t>Retirements</a:t>
                </a:r>
              </a:p>
            </p:txBody>
          </p:sp>
          <p:sp>
            <p:nvSpPr>
              <p:cNvPr id="31" name="Rectangle 30">
                <a:extLst>
                  <a:ext uri="{FF2B5EF4-FFF2-40B4-BE49-F238E27FC236}">
                    <a16:creationId xmlns:a16="http://schemas.microsoft.com/office/drawing/2014/main" id="{6C413476-6BC8-4A3C-BA39-D91609AA0208}"/>
                  </a:ext>
                </a:extLst>
              </p:cNvPr>
              <p:cNvSpPr/>
              <p:nvPr/>
            </p:nvSpPr>
            <p:spPr bwMode="auto">
              <a:xfrm>
                <a:off x="787400" y="4247352"/>
                <a:ext cx="37672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2 </a:t>
                </a:r>
              </a:p>
              <a:p>
                <a:pPr algn="ctr" eaLnBrk="0" hangingPunct="0">
                  <a:buClr>
                    <a:srgbClr val="4F81BD"/>
                  </a:buClr>
                </a:pPr>
                <a:r>
                  <a:rPr lang="en-US" sz="600" b="1" kern="0">
                    <a:solidFill>
                      <a:schemeClr val="tx2"/>
                    </a:solidFill>
                    <a:latin typeface="+mj-lt"/>
                  </a:rPr>
                  <a:t>Product </a:t>
                </a:r>
              </a:p>
              <a:p>
                <a:pPr algn="ctr" eaLnBrk="0" hangingPunct="0">
                  <a:buClr>
                    <a:srgbClr val="4F81BD"/>
                  </a:buClr>
                </a:pPr>
                <a:r>
                  <a:rPr lang="en-US" sz="600" b="1" kern="0">
                    <a:solidFill>
                      <a:schemeClr val="tx2"/>
                    </a:solidFill>
                    <a:latin typeface="+mj-lt"/>
                  </a:rPr>
                  <a:t>Mgmt.</a:t>
                </a:r>
              </a:p>
            </p:txBody>
          </p:sp>
          <p:sp>
            <p:nvSpPr>
              <p:cNvPr id="32" name="Rectangle 31">
                <a:extLst>
                  <a:ext uri="{FF2B5EF4-FFF2-40B4-BE49-F238E27FC236}">
                    <a16:creationId xmlns:a16="http://schemas.microsoft.com/office/drawing/2014/main" id="{326A237C-BBC3-4136-884F-D30374D2509B}"/>
                  </a:ext>
                </a:extLst>
              </p:cNvPr>
              <p:cNvSpPr>
                <a:spLocks/>
              </p:cNvSpPr>
              <p:nvPr/>
            </p:nvSpPr>
            <p:spPr bwMode="auto">
              <a:xfrm>
                <a:off x="782637" y="1932182"/>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2 Engagement Mediums</a:t>
                </a:r>
              </a:p>
            </p:txBody>
          </p:sp>
          <p:sp>
            <p:nvSpPr>
              <p:cNvPr id="33" name="Rectangle 32">
                <a:extLst>
                  <a:ext uri="{FF2B5EF4-FFF2-40B4-BE49-F238E27FC236}">
                    <a16:creationId xmlns:a16="http://schemas.microsoft.com/office/drawing/2014/main" id="{FA2B5C8A-7A03-4718-B3A7-58E5AACBE483}"/>
                  </a:ext>
                </a:extLst>
              </p:cNvPr>
              <p:cNvSpPr>
                <a:spLocks/>
              </p:cNvSpPr>
              <p:nvPr/>
            </p:nvSpPr>
            <p:spPr bwMode="auto">
              <a:xfrm>
                <a:off x="782637" y="2250361"/>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3 Customer Experience Management</a:t>
                </a:r>
              </a:p>
            </p:txBody>
          </p:sp>
          <p:sp>
            <p:nvSpPr>
              <p:cNvPr id="34" name="Rectangle 33">
                <a:extLst>
                  <a:ext uri="{FF2B5EF4-FFF2-40B4-BE49-F238E27FC236}">
                    <a16:creationId xmlns:a16="http://schemas.microsoft.com/office/drawing/2014/main" id="{3E410270-212A-44D3-89DF-6525BB55F245}"/>
                  </a:ext>
                </a:extLst>
              </p:cNvPr>
              <p:cNvSpPr>
                <a:spLocks noChangeAspect="1"/>
              </p:cNvSpPr>
              <p:nvPr/>
            </p:nvSpPr>
            <p:spPr bwMode="auto">
              <a:xfrm>
                <a:off x="690562" y="2640135"/>
                <a:ext cx="755649"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2. Distribution Mgmt.</a:t>
                </a:r>
              </a:p>
            </p:txBody>
          </p:sp>
          <p:sp>
            <p:nvSpPr>
              <p:cNvPr id="35" name="Rectangle 34">
                <a:extLst>
                  <a:ext uri="{FF2B5EF4-FFF2-40B4-BE49-F238E27FC236}">
                    <a16:creationId xmlns:a16="http://schemas.microsoft.com/office/drawing/2014/main" id="{44E8A535-C5DC-44C1-85E6-FE6E496596DF}"/>
                  </a:ext>
                </a:extLst>
              </p:cNvPr>
              <p:cNvSpPr>
                <a:spLocks noChangeAspect="1"/>
              </p:cNvSpPr>
              <p:nvPr/>
            </p:nvSpPr>
            <p:spPr bwMode="auto">
              <a:xfrm>
                <a:off x="1494463" y="2640135"/>
                <a:ext cx="753780"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3. Marketing Mgmt.</a:t>
                </a:r>
              </a:p>
            </p:txBody>
          </p:sp>
          <p:sp>
            <p:nvSpPr>
              <p:cNvPr id="36" name="Rectangle 35">
                <a:extLst>
                  <a:ext uri="{FF2B5EF4-FFF2-40B4-BE49-F238E27FC236}">
                    <a16:creationId xmlns:a16="http://schemas.microsoft.com/office/drawing/2014/main" id="{316DF277-A9D4-4D24-A1A6-429FF39A133E}"/>
                  </a:ext>
                </a:extLst>
              </p:cNvPr>
              <p:cNvSpPr>
                <a:spLocks/>
              </p:cNvSpPr>
              <p:nvPr/>
            </p:nvSpPr>
            <p:spPr bwMode="auto">
              <a:xfrm>
                <a:off x="1554552" y="3248826"/>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2 </a:t>
                </a:r>
              </a:p>
              <a:p>
                <a:pPr algn="ctr" eaLnBrk="0" hangingPunct="0">
                  <a:buClr>
                    <a:srgbClr val="4F81BD"/>
                  </a:buClr>
                </a:pPr>
                <a:r>
                  <a:rPr lang="en-US" sz="600" b="1" kern="0">
                    <a:solidFill>
                      <a:schemeClr val="tx2"/>
                    </a:solidFill>
                    <a:latin typeface="+mj-lt"/>
                  </a:rPr>
                  <a:t>Marketing</a:t>
                </a:r>
              </a:p>
            </p:txBody>
          </p:sp>
          <p:sp>
            <p:nvSpPr>
              <p:cNvPr id="37" name="Rectangle 36">
                <a:extLst>
                  <a:ext uri="{FF2B5EF4-FFF2-40B4-BE49-F238E27FC236}">
                    <a16:creationId xmlns:a16="http://schemas.microsoft.com/office/drawing/2014/main" id="{BBC62C2C-6563-47C8-8746-F829C426D412}"/>
                  </a:ext>
                </a:extLst>
              </p:cNvPr>
              <p:cNvSpPr/>
              <p:nvPr/>
            </p:nvSpPr>
            <p:spPr bwMode="auto">
              <a:xfrm>
                <a:off x="1554552" y="2938090"/>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1 Digital Marketing</a:t>
                </a:r>
              </a:p>
            </p:txBody>
          </p:sp>
          <p:sp>
            <p:nvSpPr>
              <p:cNvPr id="38" name="Rectangle 37">
                <a:extLst>
                  <a:ext uri="{FF2B5EF4-FFF2-40B4-BE49-F238E27FC236}">
                    <a16:creationId xmlns:a16="http://schemas.microsoft.com/office/drawing/2014/main" id="{BCA7982F-9E69-4E8D-A6AF-B1CA198BCCF4}"/>
                  </a:ext>
                </a:extLst>
              </p:cNvPr>
              <p:cNvSpPr>
                <a:spLocks noChangeAspect="1"/>
              </p:cNvSpPr>
              <p:nvPr/>
            </p:nvSpPr>
            <p:spPr bwMode="auto">
              <a:xfrm>
                <a:off x="2296495" y="2640134"/>
                <a:ext cx="422266" cy="907297"/>
              </a:xfrm>
              <a:prstGeom prst="rect">
                <a:avLst/>
              </a:prstGeom>
              <a:solidFill>
                <a:schemeClr val="bg2"/>
              </a:solidFill>
              <a:ln w="3175" cap="flat" cmpd="sng" algn="ctr">
                <a:noFill/>
                <a:prstDash val="solid"/>
              </a:ln>
              <a:effectLst/>
            </p:spPr>
            <p:txBody>
              <a:bodyPr wrap="square" lIns="72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4. Sales Mgmt.</a:t>
                </a:r>
              </a:p>
            </p:txBody>
          </p:sp>
          <p:sp>
            <p:nvSpPr>
              <p:cNvPr id="39" name="Rectangle 38">
                <a:extLst>
                  <a:ext uri="{FF2B5EF4-FFF2-40B4-BE49-F238E27FC236}">
                    <a16:creationId xmlns:a16="http://schemas.microsoft.com/office/drawing/2014/main" id="{4E5E86B9-B663-45FF-94D6-49FB2E2F96A2}"/>
                  </a:ext>
                </a:extLst>
              </p:cNvPr>
              <p:cNvSpPr/>
              <p:nvPr/>
            </p:nvSpPr>
            <p:spPr bwMode="auto">
              <a:xfrm>
                <a:off x="2369196" y="2938508"/>
                <a:ext cx="276864" cy="55962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4.4 </a:t>
                </a:r>
              </a:p>
              <a:p>
                <a:pPr algn="ctr" eaLnBrk="0" hangingPunct="0">
                  <a:buClr>
                    <a:srgbClr val="4F81BD"/>
                  </a:buClr>
                </a:pPr>
                <a:r>
                  <a:rPr lang="en-US" sz="600" b="1" kern="0">
                    <a:solidFill>
                      <a:schemeClr val="tx2"/>
                    </a:solidFill>
                    <a:latin typeface="+mj-lt"/>
                  </a:rPr>
                  <a:t>Sales</a:t>
                </a:r>
              </a:p>
            </p:txBody>
          </p:sp>
          <p:sp>
            <p:nvSpPr>
              <p:cNvPr id="40" name="Rectangle 39">
                <a:extLst>
                  <a:ext uri="{FF2B5EF4-FFF2-40B4-BE49-F238E27FC236}">
                    <a16:creationId xmlns:a16="http://schemas.microsoft.com/office/drawing/2014/main" id="{4BCA46D2-3086-43A4-87E8-67EF18EC4996}"/>
                  </a:ext>
                </a:extLst>
              </p:cNvPr>
              <p:cNvSpPr>
                <a:spLocks noChangeAspect="1"/>
              </p:cNvSpPr>
              <p:nvPr/>
            </p:nvSpPr>
            <p:spPr bwMode="auto">
              <a:xfrm>
                <a:off x="2767012" y="2640134"/>
                <a:ext cx="477718" cy="914292"/>
              </a:xfrm>
              <a:prstGeom prst="rect">
                <a:avLst/>
              </a:prstGeom>
              <a:solidFill>
                <a:schemeClr val="bg2"/>
              </a:solidFill>
              <a:ln w="3175" cap="flat" cmpd="sng" algn="ctr">
                <a:noFill/>
                <a:prstDash val="solid"/>
              </a:ln>
              <a:effectLst/>
            </p:spPr>
            <p:txBody>
              <a:bodyPr wrap="square" lIns="36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5. Service Mgmt.</a:t>
                </a:r>
              </a:p>
            </p:txBody>
          </p:sp>
          <p:sp>
            <p:nvSpPr>
              <p:cNvPr id="41" name="Rectangle 40">
                <a:extLst>
                  <a:ext uri="{FF2B5EF4-FFF2-40B4-BE49-F238E27FC236}">
                    <a16:creationId xmlns:a16="http://schemas.microsoft.com/office/drawing/2014/main" id="{72C5F746-82D4-4BB2-AA88-89127EC9C5B2}"/>
                  </a:ext>
                </a:extLst>
              </p:cNvPr>
              <p:cNvSpPr>
                <a:spLocks/>
              </p:cNvSpPr>
              <p:nvPr/>
            </p:nvSpPr>
            <p:spPr bwMode="auto">
              <a:xfrm>
                <a:off x="2811249" y="2924806"/>
                <a:ext cx="389244" cy="57332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5.2 </a:t>
                </a:r>
              </a:p>
              <a:p>
                <a:pPr algn="ctr" eaLnBrk="0" hangingPunct="0">
                  <a:buClr>
                    <a:srgbClr val="4F81BD"/>
                  </a:buClr>
                </a:pPr>
                <a:r>
                  <a:rPr lang="en-US" sz="600" b="1" kern="0">
                    <a:solidFill>
                      <a:schemeClr val="tx2"/>
                    </a:solidFill>
                    <a:latin typeface="+mj-lt"/>
                  </a:rPr>
                  <a:t>Service</a:t>
                </a:r>
              </a:p>
            </p:txBody>
          </p:sp>
          <p:sp>
            <p:nvSpPr>
              <p:cNvPr id="42" name="Rectangle 41">
                <a:extLst>
                  <a:ext uri="{FF2B5EF4-FFF2-40B4-BE49-F238E27FC236}">
                    <a16:creationId xmlns:a16="http://schemas.microsoft.com/office/drawing/2014/main" id="{B564DA36-61A4-42BD-9AE0-360D7CC8BBC4}"/>
                  </a:ext>
                </a:extLst>
              </p:cNvPr>
              <p:cNvSpPr/>
              <p:nvPr/>
            </p:nvSpPr>
            <p:spPr bwMode="auto">
              <a:xfrm>
                <a:off x="782637" y="2938506"/>
                <a:ext cx="607035" cy="55963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2.1 </a:t>
                </a:r>
              </a:p>
              <a:p>
                <a:pPr algn="ctr" eaLnBrk="0" hangingPunct="0">
                  <a:buClr>
                    <a:srgbClr val="4F81BD"/>
                  </a:buClr>
                </a:pPr>
                <a:r>
                  <a:rPr lang="en-US" sz="600" b="1" kern="0">
                    <a:solidFill>
                      <a:schemeClr val="tx2"/>
                    </a:solidFill>
                    <a:latin typeface="+mj-lt"/>
                  </a:rPr>
                  <a:t>Distribution </a:t>
                </a:r>
              </a:p>
              <a:p>
                <a:pPr algn="ctr" eaLnBrk="0" hangingPunct="0">
                  <a:buClr>
                    <a:srgbClr val="4F81BD"/>
                  </a:buClr>
                </a:pPr>
                <a:r>
                  <a:rPr lang="en-US" sz="600" b="1" kern="0">
                    <a:solidFill>
                      <a:schemeClr val="tx2"/>
                    </a:solidFill>
                    <a:latin typeface="+mj-lt"/>
                  </a:rPr>
                  <a:t>&amp; Commission </a:t>
                </a:r>
              </a:p>
              <a:p>
                <a:pPr algn="ctr" eaLnBrk="0" hangingPunct="0">
                  <a:buClr>
                    <a:srgbClr val="4F81BD"/>
                  </a:buClr>
                </a:pPr>
                <a:r>
                  <a:rPr lang="en-US" sz="600" b="1" kern="0">
                    <a:solidFill>
                      <a:schemeClr val="tx2"/>
                    </a:solidFill>
                    <a:latin typeface="+mj-lt"/>
                  </a:rPr>
                  <a:t>Management</a:t>
                </a:r>
              </a:p>
            </p:txBody>
          </p:sp>
          <p:sp>
            <p:nvSpPr>
              <p:cNvPr id="43" name="Rectangle 59">
                <a:extLst>
                  <a:ext uri="{FF2B5EF4-FFF2-40B4-BE49-F238E27FC236}">
                    <a16:creationId xmlns:a16="http://schemas.microsoft.com/office/drawing/2014/main" id="{51F7AC19-AB80-40BC-A5C2-EEE6BAE45EFF}"/>
                  </a:ext>
                </a:extLst>
              </p:cNvPr>
              <p:cNvSpPr>
                <a:spLocks noChangeArrowheads="1"/>
              </p:cNvSpPr>
              <p:nvPr/>
            </p:nvSpPr>
            <p:spPr bwMode="gray">
              <a:xfrm>
                <a:off x="3341154" y="3737130"/>
                <a:ext cx="201848" cy="193085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2  Enterprise Integration  Services Mgmt. </a:t>
                </a:r>
              </a:p>
            </p:txBody>
          </p:sp>
          <p:sp>
            <p:nvSpPr>
              <p:cNvPr id="44" name="Rectangle 59">
                <a:extLst>
                  <a:ext uri="{FF2B5EF4-FFF2-40B4-BE49-F238E27FC236}">
                    <a16:creationId xmlns:a16="http://schemas.microsoft.com/office/drawing/2014/main" id="{C5BEF9AD-9AFF-4FF2-AE56-340E5D249706}"/>
                  </a:ext>
                </a:extLst>
              </p:cNvPr>
              <p:cNvSpPr>
                <a:spLocks noChangeArrowheads="1"/>
              </p:cNvSpPr>
              <p:nvPr/>
            </p:nvSpPr>
            <p:spPr bwMode="gray">
              <a:xfrm>
                <a:off x="3336393" y="2067877"/>
                <a:ext cx="200177" cy="162010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1  Business Process Mgmt. &amp; Orch.</a:t>
                </a:r>
              </a:p>
            </p:txBody>
          </p:sp>
        </p:grpSp>
        <p:sp>
          <p:nvSpPr>
            <p:cNvPr id="13" name="Rectangle 12">
              <a:extLst>
                <a:ext uri="{FF2B5EF4-FFF2-40B4-BE49-F238E27FC236}">
                  <a16:creationId xmlns:a16="http://schemas.microsoft.com/office/drawing/2014/main" id="{080C5774-9896-48AB-BE43-9CDC51E717C3}"/>
                </a:ext>
              </a:extLst>
            </p:cNvPr>
            <p:cNvSpPr>
              <a:spLocks noChangeAspect="1"/>
            </p:cNvSpPr>
            <p:nvPr/>
          </p:nvSpPr>
          <p:spPr bwMode="auto">
            <a:xfrm>
              <a:off x="782637" y="1608160"/>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1 Channels </a:t>
              </a:r>
            </a:p>
          </p:txBody>
        </p:sp>
      </p:grpSp>
    </p:spTree>
    <p:extLst>
      <p:ext uri="{BB962C8B-B14F-4D97-AF65-F5344CB8AC3E}">
        <p14:creationId xmlns:p14="http://schemas.microsoft.com/office/powerpoint/2010/main" val="58995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2"/>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34365884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2"/>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grpSp>
        <p:nvGrpSpPr>
          <p:cNvPr id="11" name="Group 10">
            <a:extLst>
              <a:ext uri="{FF2B5EF4-FFF2-40B4-BE49-F238E27FC236}">
                <a16:creationId xmlns:a16="http://schemas.microsoft.com/office/drawing/2014/main" id="{35E2D5B0-B32F-400F-BA0A-0FDBD0D5B111}"/>
              </a:ext>
            </a:extLst>
          </p:cNvPr>
          <p:cNvGrpSpPr/>
          <p:nvPr userDrawn="1"/>
        </p:nvGrpSpPr>
        <p:grpSpPr>
          <a:xfrm>
            <a:off x="375349" y="1380840"/>
            <a:ext cx="3751898" cy="4362208"/>
            <a:chOff x="690562" y="1380840"/>
            <a:chExt cx="3751898" cy="4362208"/>
          </a:xfrm>
        </p:grpSpPr>
        <p:grpSp>
          <p:nvGrpSpPr>
            <p:cNvPr id="12" name="Group 11">
              <a:extLst>
                <a:ext uri="{FF2B5EF4-FFF2-40B4-BE49-F238E27FC236}">
                  <a16:creationId xmlns:a16="http://schemas.microsoft.com/office/drawing/2014/main" id="{5208ED2F-10AF-42BF-8319-77F9A98FDC2B}"/>
                </a:ext>
              </a:extLst>
            </p:cNvPr>
            <p:cNvGrpSpPr/>
            <p:nvPr/>
          </p:nvGrpSpPr>
          <p:grpSpPr>
            <a:xfrm>
              <a:off x="690562" y="1380840"/>
              <a:ext cx="3751898" cy="4362208"/>
              <a:chOff x="690562" y="1380840"/>
              <a:chExt cx="3751898" cy="4362208"/>
            </a:xfrm>
          </p:grpSpPr>
          <p:sp>
            <p:nvSpPr>
              <p:cNvPr id="14" name="Rectangle 13">
                <a:extLst>
                  <a:ext uri="{FF2B5EF4-FFF2-40B4-BE49-F238E27FC236}">
                    <a16:creationId xmlns:a16="http://schemas.microsoft.com/office/drawing/2014/main" id="{787477E4-B7A6-45AB-AC69-C1532C7A856C}"/>
                  </a:ext>
                </a:extLst>
              </p:cNvPr>
              <p:cNvSpPr>
                <a:spLocks noChangeAspect="1"/>
              </p:cNvSpPr>
              <p:nvPr/>
            </p:nvSpPr>
            <p:spPr bwMode="auto">
              <a:xfrm rot="16200000">
                <a:off x="1603300" y="3398468"/>
                <a:ext cx="4357440" cy="331710"/>
              </a:xfrm>
              <a:prstGeom prst="rect">
                <a:avLst/>
              </a:prstGeom>
              <a:solidFill>
                <a:schemeClr val="bg2"/>
              </a:solidFill>
              <a:ln w="3175" cap="flat" cmpd="sng" algn="ctr">
                <a:noFill/>
                <a:prstDash val="solid"/>
              </a:ln>
              <a:effectLst/>
            </p:spPr>
            <p:txBody>
              <a:bodyPr vert="horz" wrap="square" lIns="3708000" tIns="108000" rIns="72000" bIns="108000" rtlCol="0" anchor="ctr"/>
              <a:lstStyle/>
              <a:p>
                <a:pPr indent="-85669"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9. Information Foundation</a:t>
                </a:r>
              </a:p>
            </p:txBody>
          </p:sp>
          <p:sp>
            <p:nvSpPr>
              <p:cNvPr id="15" name="Rectangle 59">
                <a:extLst>
                  <a:ext uri="{FF2B5EF4-FFF2-40B4-BE49-F238E27FC236}">
                    <a16:creationId xmlns:a16="http://schemas.microsoft.com/office/drawing/2014/main" id="{F77E5C21-093D-4F8F-876B-DABF31902660}"/>
                  </a:ext>
                </a:extLst>
              </p:cNvPr>
              <p:cNvSpPr>
                <a:spLocks noChangeArrowheads="1"/>
              </p:cNvSpPr>
              <p:nvPr/>
            </p:nvSpPr>
            <p:spPr bwMode="gray">
              <a:xfrm>
                <a:off x="3660682" y="2072640"/>
                <a:ext cx="242676" cy="360605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9.1 Information Foundation</a:t>
                </a:r>
              </a:p>
            </p:txBody>
          </p:sp>
          <p:sp>
            <p:nvSpPr>
              <p:cNvPr id="16" name="Rectangle 15">
                <a:extLst>
                  <a:ext uri="{FF2B5EF4-FFF2-40B4-BE49-F238E27FC236}">
                    <a16:creationId xmlns:a16="http://schemas.microsoft.com/office/drawing/2014/main" id="{CD55A3C1-2764-43FD-887C-789B346F7798}"/>
                  </a:ext>
                </a:extLst>
              </p:cNvPr>
              <p:cNvSpPr>
                <a:spLocks noChangeAspect="1"/>
              </p:cNvSpPr>
              <p:nvPr/>
            </p:nvSpPr>
            <p:spPr bwMode="auto">
              <a:xfrm rot="16200000">
                <a:off x="1255863" y="3424386"/>
                <a:ext cx="4357443" cy="279874"/>
              </a:xfrm>
              <a:prstGeom prst="rect">
                <a:avLst/>
              </a:prstGeom>
              <a:solidFill>
                <a:schemeClr val="bg2"/>
              </a:solidFill>
              <a:ln w="3175" cap="flat" cmpd="sng" algn="ctr">
                <a:noFill/>
                <a:prstDash val="solid"/>
              </a:ln>
              <a:effectLst/>
            </p:spPr>
            <p:txBody>
              <a:bodyPr vert="horz" wrap="square" lIns="3708000" tIns="0" rIns="0" bIns="0" rtlCol="0" anchor="ctr"/>
              <a:lstStyle/>
              <a:p>
                <a:pPr marL="0" marR="0" lvl="0" indent="-85669"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8. Business Integration </a:t>
                </a:r>
              </a:p>
            </p:txBody>
          </p:sp>
          <p:grpSp>
            <p:nvGrpSpPr>
              <p:cNvPr id="21" name="Group 20">
                <a:extLst>
                  <a:ext uri="{FF2B5EF4-FFF2-40B4-BE49-F238E27FC236}">
                    <a16:creationId xmlns:a16="http://schemas.microsoft.com/office/drawing/2014/main" id="{C0C6168F-2EA7-441E-A628-BFDA0983502E}"/>
                  </a:ext>
                </a:extLst>
              </p:cNvPr>
              <p:cNvGrpSpPr/>
              <p:nvPr/>
            </p:nvGrpSpPr>
            <p:grpSpPr>
              <a:xfrm>
                <a:off x="3989518" y="1385604"/>
                <a:ext cx="452942" cy="4357444"/>
                <a:chOff x="3989518" y="1385604"/>
                <a:chExt cx="452942" cy="4357444"/>
              </a:xfrm>
            </p:grpSpPr>
            <p:sp>
              <p:nvSpPr>
                <p:cNvPr id="45" name="Rectangle 44">
                  <a:extLst>
                    <a:ext uri="{FF2B5EF4-FFF2-40B4-BE49-F238E27FC236}">
                      <a16:creationId xmlns:a16="http://schemas.microsoft.com/office/drawing/2014/main" id="{10A1B343-E7FD-4CC4-9CDC-D49F9630D977}"/>
                    </a:ext>
                  </a:extLst>
                </p:cNvPr>
                <p:cNvSpPr>
                  <a:spLocks noChangeAspect="1"/>
                </p:cNvSpPr>
                <p:nvPr/>
              </p:nvSpPr>
              <p:spPr bwMode="auto">
                <a:xfrm rot="16200000">
                  <a:off x="2037267" y="3337855"/>
                  <a:ext cx="4357444" cy="452942"/>
                </a:xfrm>
                <a:prstGeom prst="rect">
                  <a:avLst/>
                </a:prstGeom>
                <a:solidFill>
                  <a:schemeClr val="bg2"/>
                </a:solidFill>
                <a:ln w="3175" cap="flat" cmpd="sng" algn="ctr">
                  <a:noFill/>
                  <a:prstDash val="solid"/>
                </a:ln>
                <a:effectLst/>
              </p:spPr>
              <p:txBody>
                <a:bodyPr vert="horz" wrap="square" lIns="3528000" tIns="72000" rIns="108000" bIns="72000" rtlCol="0" anchor="ctr"/>
                <a:lstStyle/>
                <a:p>
                  <a:pPr indent="-85669" algn="r"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10. Business Insights &amp; Analytics </a:t>
                  </a:r>
                </a:p>
              </p:txBody>
            </p:sp>
            <p:sp>
              <p:nvSpPr>
                <p:cNvPr id="46" name="Rectangle 45">
                  <a:extLst>
                    <a:ext uri="{FF2B5EF4-FFF2-40B4-BE49-F238E27FC236}">
                      <a16:creationId xmlns:a16="http://schemas.microsoft.com/office/drawing/2014/main" id="{950A9513-876A-47D7-9316-CDF2751437AD}"/>
                    </a:ext>
                  </a:extLst>
                </p:cNvPr>
                <p:cNvSpPr/>
                <p:nvPr/>
              </p:nvSpPr>
              <p:spPr>
                <a:xfrm>
                  <a:off x="4052005" y="4697885"/>
                  <a:ext cx="327966" cy="9808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4 Analytics Enablers</a:t>
                  </a:r>
                </a:p>
              </p:txBody>
            </p:sp>
            <p:sp>
              <p:nvSpPr>
                <p:cNvPr id="47" name="TextBox 46">
                  <a:extLst>
                    <a:ext uri="{FF2B5EF4-FFF2-40B4-BE49-F238E27FC236}">
                      <a16:creationId xmlns:a16="http://schemas.microsoft.com/office/drawing/2014/main" id="{87A5841B-9B41-45C0-A403-AA0567184B50}"/>
                    </a:ext>
                  </a:extLst>
                </p:cNvPr>
                <p:cNvSpPr txBox="1"/>
                <p:nvPr/>
              </p:nvSpPr>
              <p:spPr>
                <a:xfrm>
                  <a:off x="4053623" y="2072640"/>
                  <a:ext cx="3247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1 Marketing </a:t>
                  </a:r>
                </a:p>
                <a:p>
                  <a:pPr algn="ctr"/>
                  <a:r>
                    <a:rPr lang="en-US" sz="600">
                      <a:solidFill>
                        <a:schemeClr val="tx2"/>
                      </a:solidFill>
                      <a:latin typeface="+mj-lt"/>
                    </a:rPr>
                    <a:t>Analytics </a:t>
                  </a:r>
                </a:p>
              </p:txBody>
            </p:sp>
            <p:sp>
              <p:nvSpPr>
                <p:cNvPr id="48" name="TextBox 47">
                  <a:extLst>
                    <a:ext uri="{FF2B5EF4-FFF2-40B4-BE49-F238E27FC236}">
                      <a16:creationId xmlns:a16="http://schemas.microsoft.com/office/drawing/2014/main" id="{7D0B24AA-C5C5-405B-BFEF-07E50C1C6EEA}"/>
                    </a:ext>
                  </a:extLst>
                </p:cNvPr>
                <p:cNvSpPr txBox="1">
                  <a:spLocks/>
                </p:cNvSpPr>
                <p:nvPr/>
              </p:nvSpPr>
              <p:spPr>
                <a:xfrm>
                  <a:off x="4053623" y="2905636"/>
                  <a:ext cx="324730" cy="8711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2  Underwriting</a:t>
                  </a:r>
                </a:p>
                <a:p>
                  <a:pPr algn="ctr"/>
                  <a:r>
                    <a:rPr lang="en-US" sz="600">
                      <a:solidFill>
                        <a:schemeClr val="tx2"/>
                      </a:solidFill>
                      <a:latin typeface="+mj-lt"/>
                    </a:rPr>
                    <a:t>&amp; Product Analytics</a:t>
                  </a:r>
                </a:p>
              </p:txBody>
            </p:sp>
            <p:sp>
              <p:nvSpPr>
                <p:cNvPr id="49" name="AutoShape 48">
                  <a:extLst>
                    <a:ext uri="{FF2B5EF4-FFF2-40B4-BE49-F238E27FC236}">
                      <a16:creationId xmlns:a16="http://schemas.microsoft.com/office/drawing/2014/main" id="{A8729951-DD9E-4C21-8898-BF8D781410F2}"/>
                    </a:ext>
                  </a:extLst>
                </p:cNvPr>
                <p:cNvSpPr>
                  <a:spLocks noChangeArrowheads="1"/>
                </p:cNvSpPr>
                <p:nvPr/>
              </p:nvSpPr>
              <p:spPr bwMode="gray">
                <a:xfrm>
                  <a:off x="4052773" y="3864890"/>
                  <a:ext cx="3264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3 Operations</a:t>
                  </a:r>
                </a:p>
                <a:p>
                  <a:pPr algn="ctr" eaLnBrk="0" hangingPunct="0">
                    <a:buClr>
                      <a:srgbClr val="4F81BD"/>
                    </a:buClr>
                  </a:pPr>
                  <a:r>
                    <a:rPr lang="en-US" sz="600" b="1" kern="0">
                      <a:solidFill>
                        <a:schemeClr val="tx2"/>
                      </a:solidFill>
                      <a:latin typeface="+mj-lt"/>
                    </a:rPr>
                    <a:t>Analytics</a:t>
                  </a:r>
                </a:p>
              </p:txBody>
            </p:sp>
          </p:grpSp>
          <p:sp>
            <p:nvSpPr>
              <p:cNvPr id="22" name="Rectangle 21">
                <a:extLst>
                  <a:ext uri="{FF2B5EF4-FFF2-40B4-BE49-F238E27FC236}">
                    <a16:creationId xmlns:a16="http://schemas.microsoft.com/office/drawing/2014/main" id="{4D17B313-8EB3-4DBC-9307-446D106D3537}"/>
                  </a:ext>
                </a:extLst>
              </p:cNvPr>
              <p:cNvSpPr>
                <a:spLocks noChangeAspect="1"/>
              </p:cNvSpPr>
              <p:nvPr/>
            </p:nvSpPr>
            <p:spPr bwMode="auto">
              <a:xfrm>
                <a:off x="696105" y="5125635"/>
                <a:ext cx="2553387" cy="617413"/>
              </a:xfrm>
              <a:prstGeom prst="rect">
                <a:avLst/>
              </a:prstGeom>
              <a:solidFill>
                <a:schemeClr val="bg2"/>
              </a:solidFill>
              <a:ln w="3175" cap="flat" cmpd="sng" algn="ctr">
                <a:noFill/>
                <a:prstDash val="solid"/>
              </a:ln>
              <a:effectLst/>
            </p:spPr>
            <p:txBody>
              <a:bodyPr wrap="square" lIns="108000" tIns="108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7. Enterprise Functions</a:t>
                </a:r>
              </a:p>
            </p:txBody>
          </p:sp>
          <p:sp>
            <p:nvSpPr>
              <p:cNvPr id="23" name="Rectangle 43">
                <a:extLst>
                  <a:ext uri="{FF2B5EF4-FFF2-40B4-BE49-F238E27FC236}">
                    <a16:creationId xmlns:a16="http://schemas.microsoft.com/office/drawing/2014/main" id="{FA080AA9-ABF9-40BA-912E-B7DECDC0DD39}"/>
                  </a:ext>
                </a:extLst>
              </p:cNvPr>
              <p:cNvSpPr>
                <a:spLocks noChangeArrowheads="1"/>
              </p:cNvSpPr>
              <p:nvPr/>
            </p:nvSpPr>
            <p:spPr bwMode="auto">
              <a:xfrm>
                <a:off x="787401" y="5364024"/>
                <a:ext cx="2417856" cy="303962"/>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7.1 Corporate Functions</a:t>
                </a:r>
              </a:p>
            </p:txBody>
          </p:sp>
          <p:sp>
            <p:nvSpPr>
              <p:cNvPr id="24" name="Rectangle 23">
                <a:extLst>
                  <a:ext uri="{FF2B5EF4-FFF2-40B4-BE49-F238E27FC236}">
                    <a16:creationId xmlns:a16="http://schemas.microsoft.com/office/drawing/2014/main" id="{FC80C787-D534-4B0A-8010-B721B0ACFADF}"/>
                  </a:ext>
                </a:extLst>
              </p:cNvPr>
              <p:cNvSpPr>
                <a:spLocks noChangeAspect="1"/>
              </p:cNvSpPr>
              <p:nvPr/>
            </p:nvSpPr>
            <p:spPr bwMode="auto">
              <a:xfrm>
                <a:off x="690563" y="1380840"/>
                <a:ext cx="2557678" cy="1206571"/>
              </a:xfrm>
              <a:prstGeom prst="rect">
                <a:avLst/>
              </a:prstGeom>
              <a:solidFill>
                <a:schemeClr val="bg2"/>
              </a:solidFill>
              <a:ln w="3175" cap="flat" cmpd="sng" algn="ctr">
                <a:noFill/>
                <a:prstDash val="solid"/>
              </a:ln>
              <a:effectLst/>
            </p:spPr>
            <p:txBody>
              <a:bodyPr vert="horz" wrap="square" lIns="108000" tIns="72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1. Channel Mgmt.</a:t>
                </a:r>
              </a:p>
            </p:txBody>
          </p:sp>
          <p:sp>
            <p:nvSpPr>
              <p:cNvPr id="25" name="Rectangle 24">
                <a:extLst>
                  <a:ext uri="{FF2B5EF4-FFF2-40B4-BE49-F238E27FC236}">
                    <a16:creationId xmlns:a16="http://schemas.microsoft.com/office/drawing/2014/main" id="{B89C6BAF-CA5E-430F-B39B-3F1DF27953F2}"/>
                  </a:ext>
                </a:extLst>
              </p:cNvPr>
              <p:cNvSpPr>
                <a:spLocks noChangeAspect="1"/>
              </p:cNvSpPr>
              <p:nvPr/>
            </p:nvSpPr>
            <p:spPr bwMode="auto">
              <a:xfrm>
                <a:off x="696106" y="3615896"/>
                <a:ext cx="2553386" cy="1434677"/>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6. Product &amp; Operations</a:t>
                </a:r>
              </a:p>
            </p:txBody>
          </p:sp>
          <p:sp>
            <p:nvSpPr>
              <p:cNvPr id="26" name="Rectangle 25">
                <a:extLst>
                  <a:ext uri="{FF2B5EF4-FFF2-40B4-BE49-F238E27FC236}">
                    <a16:creationId xmlns:a16="http://schemas.microsoft.com/office/drawing/2014/main" id="{BDBE012F-D205-4B65-B2E4-5D3279F344C0}"/>
                  </a:ext>
                </a:extLst>
              </p:cNvPr>
              <p:cNvSpPr/>
              <p:nvPr/>
            </p:nvSpPr>
            <p:spPr bwMode="auto">
              <a:xfrm>
                <a:off x="787400" y="3835400"/>
                <a:ext cx="2423069" cy="35001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1 </a:t>
                </a:r>
              </a:p>
              <a:p>
                <a:pPr algn="ctr" eaLnBrk="0" hangingPunct="0">
                  <a:buClr>
                    <a:srgbClr val="4F81BD"/>
                  </a:buClr>
                </a:pPr>
                <a:r>
                  <a:rPr lang="en-US" sz="600" b="1" kern="0">
                    <a:solidFill>
                      <a:schemeClr val="tx2"/>
                    </a:solidFill>
                    <a:latin typeface="+mj-lt"/>
                  </a:rPr>
                  <a:t>Cross Capability</a:t>
                </a:r>
              </a:p>
            </p:txBody>
          </p:sp>
          <p:sp>
            <p:nvSpPr>
              <p:cNvPr id="27" name="Rectangle 26">
                <a:extLst>
                  <a:ext uri="{FF2B5EF4-FFF2-40B4-BE49-F238E27FC236}">
                    <a16:creationId xmlns:a16="http://schemas.microsoft.com/office/drawing/2014/main" id="{1A752C42-9559-4DCF-A50F-7CE917E8F312}"/>
                  </a:ext>
                </a:extLst>
              </p:cNvPr>
              <p:cNvSpPr/>
              <p:nvPr/>
            </p:nvSpPr>
            <p:spPr bwMode="auto">
              <a:xfrm>
                <a:off x="1197589" y="4247352"/>
                <a:ext cx="45334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3 </a:t>
                </a:r>
              </a:p>
              <a:p>
                <a:pPr algn="ctr" eaLnBrk="0" hangingPunct="0">
                  <a:buClr>
                    <a:srgbClr val="4F81BD"/>
                  </a:buClr>
                </a:pPr>
                <a:r>
                  <a:rPr lang="en-US" sz="600" b="1" kern="0">
                    <a:solidFill>
                      <a:schemeClr val="tx2"/>
                    </a:solidFill>
                    <a:latin typeface="+mj-lt"/>
                  </a:rPr>
                  <a:t>Life </a:t>
                </a:r>
              </a:p>
              <a:p>
                <a:pPr algn="ctr" eaLnBrk="0" hangingPunct="0">
                  <a:buClr>
                    <a:srgbClr val="4F81BD"/>
                  </a:buClr>
                </a:pPr>
                <a:r>
                  <a:rPr lang="en-US" sz="600" b="1" kern="0">
                    <a:solidFill>
                      <a:schemeClr val="tx2"/>
                    </a:solidFill>
                    <a:latin typeface="+mj-lt"/>
                  </a:rPr>
                  <a:t>Insurance</a:t>
                </a:r>
              </a:p>
            </p:txBody>
          </p:sp>
          <p:sp>
            <p:nvSpPr>
              <p:cNvPr id="28" name="Rectangle 27">
                <a:extLst>
                  <a:ext uri="{FF2B5EF4-FFF2-40B4-BE49-F238E27FC236}">
                    <a16:creationId xmlns:a16="http://schemas.microsoft.com/office/drawing/2014/main" id="{7EE5A5A2-85F0-4BA0-9816-BE767E28A7BE}"/>
                  </a:ext>
                </a:extLst>
              </p:cNvPr>
              <p:cNvSpPr/>
              <p:nvPr/>
            </p:nvSpPr>
            <p:spPr bwMode="auto">
              <a:xfrm>
                <a:off x="1684398" y="4247352"/>
                <a:ext cx="372607"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4 </a:t>
                </a:r>
              </a:p>
              <a:p>
                <a:pPr algn="ctr" eaLnBrk="0" hangingPunct="0">
                  <a:buClr>
                    <a:srgbClr val="4F81BD"/>
                  </a:buClr>
                </a:pPr>
                <a:r>
                  <a:rPr lang="en-US" sz="600" b="1" kern="0">
                    <a:solidFill>
                      <a:schemeClr val="tx2"/>
                    </a:solidFill>
                    <a:latin typeface="+mj-lt"/>
                  </a:rPr>
                  <a:t>Annuity</a:t>
                </a:r>
              </a:p>
            </p:txBody>
          </p:sp>
          <p:sp>
            <p:nvSpPr>
              <p:cNvPr id="29" name="Rectangle 28">
                <a:extLst>
                  <a:ext uri="{FF2B5EF4-FFF2-40B4-BE49-F238E27FC236}">
                    <a16:creationId xmlns:a16="http://schemas.microsoft.com/office/drawing/2014/main" id="{BFF00EB7-B778-4FED-B0E1-DB5FEA57AA60}"/>
                  </a:ext>
                </a:extLst>
              </p:cNvPr>
              <p:cNvSpPr/>
              <p:nvPr/>
            </p:nvSpPr>
            <p:spPr bwMode="auto">
              <a:xfrm>
                <a:off x="2090467" y="4247355"/>
                <a:ext cx="474172"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5 </a:t>
                </a:r>
              </a:p>
              <a:p>
                <a:pPr algn="ctr" eaLnBrk="0" hangingPunct="0">
                  <a:buClr>
                    <a:srgbClr val="4F81BD"/>
                  </a:buClr>
                </a:pPr>
                <a:r>
                  <a:rPr lang="en-US" sz="600" b="1" kern="0">
                    <a:solidFill>
                      <a:schemeClr val="tx2"/>
                    </a:solidFill>
                    <a:latin typeface="+mj-lt"/>
                  </a:rPr>
                  <a:t>Group </a:t>
                </a:r>
              </a:p>
              <a:p>
                <a:pPr algn="ctr" eaLnBrk="0" hangingPunct="0">
                  <a:buClr>
                    <a:srgbClr val="4F81BD"/>
                  </a:buClr>
                </a:pPr>
                <a:r>
                  <a:rPr lang="en-US" sz="600" b="1" kern="0">
                    <a:solidFill>
                      <a:schemeClr val="tx2"/>
                    </a:solidFill>
                    <a:latin typeface="+mj-lt"/>
                  </a:rPr>
                  <a:t>Insurance</a:t>
                </a:r>
              </a:p>
            </p:txBody>
          </p:sp>
          <p:sp>
            <p:nvSpPr>
              <p:cNvPr id="30" name="Rectangle 29">
                <a:extLst>
                  <a:ext uri="{FF2B5EF4-FFF2-40B4-BE49-F238E27FC236}">
                    <a16:creationId xmlns:a16="http://schemas.microsoft.com/office/drawing/2014/main" id="{356F3BBB-5B34-4F0C-9607-020EF425BBF5}"/>
                  </a:ext>
                </a:extLst>
              </p:cNvPr>
              <p:cNvSpPr/>
              <p:nvPr/>
            </p:nvSpPr>
            <p:spPr bwMode="auto">
              <a:xfrm>
                <a:off x="2598101" y="4247355"/>
                <a:ext cx="612368"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6 </a:t>
                </a:r>
              </a:p>
              <a:p>
                <a:pPr algn="ctr" eaLnBrk="0" hangingPunct="0">
                  <a:buClr>
                    <a:srgbClr val="4F81BD"/>
                  </a:buClr>
                </a:pPr>
                <a:r>
                  <a:rPr lang="en-US" sz="600" b="1" kern="0">
                    <a:solidFill>
                      <a:schemeClr val="tx2"/>
                    </a:solidFill>
                    <a:latin typeface="+mj-lt"/>
                  </a:rPr>
                  <a:t>Retirements</a:t>
                </a:r>
              </a:p>
            </p:txBody>
          </p:sp>
          <p:sp>
            <p:nvSpPr>
              <p:cNvPr id="31" name="Rectangle 30">
                <a:extLst>
                  <a:ext uri="{FF2B5EF4-FFF2-40B4-BE49-F238E27FC236}">
                    <a16:creationId xmlns:a16="http://schemas.microsoft.com/office/drawing/2014/main" id="{E174DD80-0F50-43F1-8DE2-5FDEDD9F1D8C}"/>
                  </a:ext>
                </a:extLst>
              </p:cNvPr>
              <p:cNvSpPr/>
              <p:nvPr/>
            </p:nvSpPr>
            <p:spPr bwMode="auto">
              <a:xfrm>
                <a:off x="787400" y="4247352"/>
                <a:ext cx="37672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2 </a:t>
                </a:r>
              </a:p>
              <a:p>
                <a:pPr algn="ctr" eaLnBrk="0" hangingPunct="0">
                  <a:buClr>
                    <a:srgbClr val="4F81BD"/>
                  </a:buClr>
                </a:pPr>
                <a:r>
                  <a:rPr lang="en-US" sz="600" b="1" kern="0">
                    <a:solidFill>
                      <a:schemeClr val="tx2"/>
                    </a:solidFill>
                    <a:latin typeface="+mj-lt"/>
                  </a:rPr>
                  <a:t>Product </a:t>
                </a:r>
              </a:p>
              <a:p>
                <a:pPr algn="ctr" eaLnBrk="0" hangingPunct="0">
                  <a:buClr>
                    <a:srgbClr val="4F81BD"/>
                  </a:buClr>
                </a:pPr>
                <a:r>
                  <a:rPr lang="en-US" sz="600" b="1" kern="0">
                    <a:solidFill>
                      <a:schemeClr val="tx2"/>
                    </a:solidFill>
                    <a:latin typeface="+mj-lt"/>
                  </a:rPr>
                  <a:t>Mgmt.</a:t>
                </a:r>
              </a:p>
            </p:txBody>
          </p:sp>
          <p:sp>
            <p:nvSpPr>
              <p:cNvPr id="32" name="Rectangle 31">
                <a:extLst>
                  <a:ext uri="{FF2B5EF4-FFF2-40B4-BE49-F238E27FC236}">
                    <a16:creationId xmlns:a16="http://schemas.microsoft.com/office/drawing/2014/main" id="{FE7ADAF0-E8F3-47BE-9958-262F6905DB20}"/>
                  </a:ext>
                </a:extLst>
              </p:cNvPr>
              <p:cNvSpPr>
                <a:spLocks/>
              </p:cNvSpPr>
              <p:nvPr/>
            </p:nvSpPr>
            <p:spPr bwMode="auto">
              <a:xfrm>
                <a:off x="782637" y="1932182"/>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2 Engagement Mediums</a:t>
                </a:r>
              </a:p>
            </p:txBody>
          </p:sp>
          <p:sp>
            <p:nvSpPr>
              <p:cNvPr id="33" name="Rectangle 32">
                <a:extLst>
                  <a:ext uri="{FF2B5EF4-FFF2-40B4-BE49-F238E27FC236}">
                    <a16:creationId xmlns:a16="http://schemas.microsoft.com/office/drawing/2014/main" id="{E4A3B068-BB74-451F-ABAF-B6948A75588C}"/>
                  </a:ext>
                </a:extLst>
              </p:cNvPr>
              <p:cNvSpPr>
                <a:spLocks/>
              </p:cNvSpPr>
              <p:nvPr/>
            </p:nvSpPr>
            <p:spPr bwMode="auto">
              <a:xfrm>
                <a:off x="782637" y="2250361"/>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3 Customer Experience Management</a:t>
                </a:r>
              </a:p>
            </p:txBody>
          </p:sp>
          <p:sp>
            <p:nvSpPr>
              <p:cNvPr id="34" name="Rectangle 33">
                <a:extLst>
                  <a:ext uri="{FF2B5EF4-FFF2-40B4-BE49-F238E27FC236}">
                    <a16:creationId xmlns:a16="http://schemas.microsoft.com/office/drawing/2014/main" id="{35624CB7-8869-4A6F-8806-9C7F874B78DF}"/>
                  </a:ext>
                </a:extLst>
              </p:cNvPr>
              <p:cNvSpPr>
                <a:spLocks noChangeAspect="1"/>
              </p:cNvSpPr>
              <p:nvPr/>
            </p:nvSpPr>
            <p:spPr bwMode="auto">
              <a:xfrm>
                <a:off x="690562" y="2640135"/>
                <a:ext cx="755649"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2. Distribution Mgmt.</a:t>
                </a:r>
              </a:p>
            </p:txBody>
          </p:sp>
          <p:sp>
            <p:nvSpPr>
              <p:cNvPr id="35" name="Rectangle 34">
                <a:extLst>
                  <a:ext uri="{FF2B5EF4-FFF2-40B4-BE49-F238E27FC236}">
                    <a16:creationId xmlns:a16="http://schemas.microsoft.com/office/drawing/2014/main" id="{35DA3B69-E0EA-41F4-9DD1-7E7D0F06ADDA}"/>
                  </a:ext>
                </a:extLst>
              </p:cNvPr>
              <p:cNvSpPr>
                <a:spLocks noChangeAspect="1"/>
              </p:cNvSpPr>
              <p:nvPr/>
            </p:nvSpPr>
            <p:spPr bwMode="auto">
              <a:xfrm>
                <a:off x="1494463" y="2640135"/>
                <a:ext cx="753780"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3. Marketing Mgmt.</a:t>
                </a:r>
              </a:p>
            </p:txBody>
          </p:sp>
          <p:sp>
            <p:nvSpPr>
              <p:cNvPr id="36" name="Rectangle 35">
                <a:extLst>
                  <a:ext uri="{FF2B5EF4-FFF2-40B4-BE49-F238E27FC236}">
                    <a16:creationId xmlns:a16="http://schemas.microsoft.com/office/drawing/2014/main" id="{6C007E52-6D18-4688-BEB8-738366B07764}"/>
                  </a:ext>
                </a:extLst>
              </p:cNvPr>
              <p:cNvSpPr>
                <a:spLocks/>
              </p:cNvSpPr>
              <p:nvPr/>
            </p:nvSpPr>
            <p:spPr bwMode="auto">
              <a:xfrm>
                <a:off x="1554552" y="3248826"/>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2 </a:t>
                </a:r>
              </a:p>
              <a:p>
                <a:pPr algn="ctr" eaLnBrk="0" hangingPunct="0">
                  <a:buClr>
                    <a:srgbClr val="4F81BD"/>
                  </a:buClr>
                </a:pPr>
                <a:r>
                  <a:rPr lang="en-US" sz="600" b="1" kern="0">
                    <a:solidFill>
                      <a:schemeClr val="tx2"/>
                    </a:solidFill>
                    <a:latin typeface="+mj-lt"/>
                  </a:rPr>
                  <a:t>Marketing</a:t>
                </a:r>
              </a:p>
            </p:txBody>
          </p:sp>
          <p:sp>
            <p:nvSpPr>
              <p:cNvPr id="37" name="Rectangle 36">
                <a:extLst>
                  <a:ext uri="{FF2B5EF4-FFF2-40B4-BE49-F238E27FC236}">
                    <a16:creationId xmlns:a16="http://schemas.microsoft.com/office/drawing/2014/main" id="{C7F12F8D-3FE9-4991-ACC3-75E974085E39}"/>
                  </a:ext>
                </a:extLst>
              </p:cNvPr>
              <p:cNvSpPr/>
              <p:nvPr/>
            </p:nvSpPr>
            <p:spPr bwMode="auto">
              <a:xfrm>
                <a:off x="1554552" y="2938090"/>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1 Digital Marketing</a:t>
                </a:r>
              </a:p>
            </p:txBody>
          </p:sp>
          <p:sp>
            <p:nvSpPr>
              <p:cNvPr id="38" name="Rectangle 37">
                <a:extLst>
                  <a:ext uri="{FF2B5EF4-FFF2-40B4-BE49-F238E27FC236}">
                    <a16:creationId xmlns:a16="http://schemas.microsoft.com/office/drawing/2014/main" id="{64DF9D9F-2D35-40E9-BC3E-E651B0D87B22}"/>
                  </a:ext>
                </a:extLst>
              </p:cNvPr>
              <p:cNvSpPr>
                <a:spLocks noChangeAspect="1"/>
              </p:cNvSpPr>
              <p:nvPr/>
            </p:nvSpPr>
            <p:spPr bwMode="auto">
              <a:xfrm>
                <a:off x="2296495" y="2640134"/>
                <a:ext cx="422266" cy="907297"/>
              </a:xfrm>
              <a:prstGeom prst="rect">
                <a:avLst/>
              </a:prstGeom>
              <a:solidFill>
                <a:schemeClr val="bg2"/>
              </a:solidFill>
              <a:ln w="3175" cap="flat" cmpd="sng" algn="ctr">
                <a:noFill/>
                <a:prstDash val="solid"/>
              </a:ln>
              <a:effectLst/>
            </p:spPr>
            <p:txBody>
              <a:bodyPr wrap="square" lIns="72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4. Sales Mgmt.</a:t>
                </a:r>
              </a:p>
            </p:txBody>
          </p:sp>
          <p:sp>
            <p:nvSpPr>
              <p:cNvPr id="39" name="Rectangle 38">
                <a:extLst>
                  <a:ext uri="{FF2B5EF4-FFF2-40B4-BE49-F238E27FC236}">
                    <a16:creationId xmlns:a16="http://schemas.microsoft.com/office/drawing/2014/main" id="{64A8DFE4-469C-4E3C-8C88-1FE3C2C60BF1}"/>
                  </a:ext>
                </a:extLst>
              </p:cNvPr>
              <p:cNvSpPr/>
              <p:nvPr/>
            </p:nvSpPr>
            <p:spPr bwMode="auto">
              <a:xfrm>
                <a:off x="2369196" y="2938508"/>
                <a:ext cx="276864" cy="55962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4.4 </a:t>
                </a:r>
              </a:p>
              <a:p>
                <a:pPr algn="ctr" eaLnBrk="0" hangingPunct="0">
                  <a:buClr>
                    <a:srgbClr val="4F81BD"/>
                  </a:buClr>
                </a:pPr>
                <a:r>
                  <a:rPr lang="en-US" sz="600" b="1" kern="0">
                    <a:solidFill>
                      <a:schemeClr val="tx2"/>
                    </a:solidFill>
                    <a:latin typeface="+mj-lt"/>
                  </a:rPr>
                  <a:t>Sales</a:t>
                </a:r>
              </a:p>
            </p:txBody>
          </p:sp>
          <p:sp>
            <p:nvSpPr>
              <p:cNvPr id="40" name="Rectangle 39">
                <a:extLst>
                  <a:ext uri="{FF2B5EF4-FFF2-40B4-BE49-F238E27FC236}">
                    <a16:creationId xmlns:a16="http://schemas.microsoft.com/office/drawing/2014/main" id="{9CD6C26A-1E08-48E3-ACD4-A18112FC38D5}"/>
                  </a:ext>
                </a:extLst>
              </p:cNvPr>
              <p:cNvSpPr>
                <a:spLocks noChangeAspect="1"/>
              </p:cNvSpPr>
              <p:nvPr/>
            </p:nvSpPr>
            <p:spPr bwMode="auto">
              <a:xfrm>
                <a:off x="2767012" y="2640134"/>
                <a:ext cx="477718" cy="914292"/>
              </a:xfrm>
              <a:prstGeom prst="rect">
                <a:avLst/>
              </a:prstGeom>
              <a:solidFill>
                <a:schemeClr val="bg2"/>
              </a:solidFill>
              <a:ln w="3175" cap="flat" cmpd="sng" algn="ctr">
                <a:noFill/>
                <a:prstDash val="solid"/>
              </a:ln>
              <a:effectLst/>
            </p:spPr>
            <p:txBody>
              <a:bodyPr wrap="square" lIns="36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5. Service Mgmt.</a:t>
                </a:r>
              </a:p>
            </p:txBody>
          </p:sp>
          <p:sp>
            <p:nvSpPr>
              <p:cNvPr id="41" name="Rectangle 40">
                <a:extLst>
                  <a:ext uri="{FF2B5EF4-FFF2-40B4-BE49-F238E27FC236}">
                    <a16:creationId xmlns:a16="http://schemas.microsoft.com/office/drawing/2014/main" id="{6F11A8D5-F8F0-43A6-A9A0-BF4005EAEFF8}"/>
                  </a:ext>
                </a:extLst>
              </p:cNvPr>
              <p:cNvSpPr>
                <a:spLocks/>
              </p:cNvSpPr>
              <p:nvPr/>
            </p:nvSpPr>
            <p:spPr bwMode="auto">
              <a:xfrm>
                <a:off x="2811249" y="2924806"/>
                <a:ext cx="389244" cy="57332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5.2 </a:t>
                </a:r>
              </a:p>
              <a:p>
                <a:pPr algn="ctr" eaLnBrk="0" hangingPunct="0">
                  <a:buClr>
                    <a:srgbClr val="4F81BD"/>
                  </a:buClr>
                </a:pPr>
                <a:r>
                  <a:rPr lang="en-US" sz="600" b="1" kern="0">
                    <a:solidFill>
                      <a:schemeClr val="tx2"/>
                    </a:solidFill>
                    <a:latin typeface="+mj-lt"/>
                  </a:rPr>
                  <a:t>Service</a:t>
                </a:r>
              </a:p>
            </p:txBody>
          </p:sp>
          <p:sp>
            <p:nvSpPr>
              <p:cNvPr id="42" name="Rectangle 41">
                <a:extLst>
                  <a:ext uri="{FF2B5EF4-FFF2-40B4-BE49-F238E27FC236}">
                    <a16:creationId xmlns:a16="http://schemas.microsoft.com/office/drawing/2014/main" id="{48651E33-974D-4AB0-B920-C90B962EC89D}"/>
                  </a:ext>
                </a:extLst>
              </p:cNvPr>
              <p:cNvSpPr/>
              <p:nvPr/>
            </p:nvSpPr>
            <p:spPr bwMode="auto">
              <a:xfrm>
                <a:off x="782637" y="2938506"/>
                <a:ext cx="607035" cy="55963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2.1 </a:t>
                </a:r>
              </a:p>
              <a:p>
                <a:pPr algn="ctr" eaLnBrk="0" hangingPunct="0">
                  <a:buClr>
                    <a:srgbClr val="4F81BD"/>
                  </a:buClr>
                </a:pPr>
                <a:r>
                  <a:rPr lang="en-US" sz="600" b="1" kern="0">
                    <a:solidFill>
                      <a:schemeClr val="tx2"/>
                    </a:solidFill>
                    <a:latin typeface="+mj-lt"/>
                  </a:rPr>
                  <a:t>Distribution </a:t>
                </a:r>
              </a:p>
              <a:p>
                <a:pPr algn="ctr" eaLnBrk="0" hangingPunct="0">
                  <a:buClr>
                    <a:srgbClr val="4F81BD"/>
                  </a:buClr>
                </a:pPr>
                <a:r>
                  <a:rPr lang="en-US" sz="600" b="1" kern="0">
                    <a:solidFill>
                      <a:schemeClr val="tx2"/>
                    </a:solidFill>
                    <a:latin typeface="+mj-lt"/>
                  </a:rPr>
                  <a:t>&amp; Commission </a:t>
                </a:r>
              </a:p>
              <a:p>
                <a:pPr algn="ctr" eaLnBrk="0" hangingPunct="0">
                  <a:buClr>
                    <a:srgbClr val="4F81BD"/>
                  </a:buClr>
                </a:pPr>
                <a:r>
                  <a:rPr lang="en-US" sz="600" b="1" kern="0">
                    <a:solidFill>
                      <a:schemeClr val="tx2"/>
                    </a:solidFill>
                    <a:latin typeface="+mj-lt"/>
                  </a:rPr>
                  <a:t>Management</a:t>
                </a:r>
              </a:p>
            </p:txBody>
          </p:sp>
          <p:sp>
            <p:nvSpPr>
              <p:cNvPr id="43" name="Rectangle 59">
                <a:extLst>
                  <a:ext uri="{FF2B5EF4-FFF2-40B4-BE49-F238E27FC236}">
                    <a16:creationId xmlns:a16="http://schemas.microsoft.com/office/drawing/2014/main" id="{2D548F02-AC27-4928-A838-E23EED37DDCC}"/>
                  </a:ext>
                </a:extLst>
              </p:cNvPr>
              <p:cNvSpPr>
                <a:spLocks noChangeArrowheads="1"/>
              </p:cNvSpPr>
              <p:nvPr/>
            </p:nvSpPr>
            <p:spPr bwMode="gray">
              <a:xfrm>
                <a:off x="3341154" y="3737130"/>
                <a:ext cx="201848" cy="193085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2  Enterprise Integration  Services Mgmt. </a:t>
                </a:r>
              </a:p>
            </p:txBody>
          </p:sp>
          <p:sp>
            <p:nvSpPr>
              <p:cNvPr id="44" name="Rectangle 59">
                <a:extLst>
                  <a:ext uri="{FF2B5EF4-FFF2-40B4-BE49-F238E27FC236}">
                    <a16:creationId xmlns:a16="http://schemas.microsoft.com/office/drawing/2014/main" id="{CE3AE090-52D0-4651-8A11-9FAC0F039EC1}"/>
                  </a:ext>
                </a:extLst>
              </p:cNvPr>
              <p:cNvSpPr>
                <a:spLocks noChangeArrowheads="1"/>
              </p:cNvSpPr>
              <p:nvPr/>
            </p:nvSpPr>
            <p:spPr bwMode="gray">
              <a:xfrm>
                <a:off x="3336393" y="2067877"/>
                <a:ext cx="200177" cy="162010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1  Business Process Mgmt. &amp; Orch.</a:t>
                </a:r>
              </a:p>
            </p:txBody>
          </p:sp>
        </p:grpSp>
        <p:sp>
          <p:nvSpPr>
            <p:cNvPr id="13" name="Rectangle 12">
              <a:extLst>
                <a:ext uri="{FF2B5EF4-FFF2-40B4-BE49-F238E27FC236}">
                  <a16:creationId xmlns:a16="http://schemas.microsoft.com/office/drawing/2014/main" id="{FE486C28-40B0-4D64-B325-B36769CCF146}"/>
                </a:ext>
              </a:extLst>
            </p:cNvPr>
            <p:cNvSpPr>
              <a:spLocks noChangeAspect="1"/>
            </p:cNvSpPr>
            <p:nvPr/>
          </p:nvSpPr>
          <p:spPr bwMode="auto">
            <a:xfrm>
              <a:off x="782637" y="1608160"/>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1 Channels </a:t>
              </a:r>
            </a:p>
          </p:txBody>
        </p:sp>
      </p:grpSp>
    </p:spTree>
    <p:extLst>
      <p:ext uri="{BB962C8B-B14F-4D97-AF65-F5344CB8AC3E}">
        <p14:creationId xmlns:p14="http://schemas.microsoft.com/office/powerpoint/2010/main" val="2504431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3"/>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414565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3"/>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grpSp>
        <p:nvGrpSpPr>
          <p:cNvPr id="11" name="Group 10">
            <a:extLst>
              <a:ext uri="{FF2B5EF4-FFF2-40B4-BE49-F238E27FC236}">
                <a16:creationId xmlns:a16="http://schemas.microsoft.com/office/drawing/2014/main" id="{4C54AF0A-C77F-48E4-993C-9A429C02593E}"/>
              </a:ext>
            </a:extLst>
          </p:cNvPr>
          <p:cNvGrpSpPr/>
          <p:nvPr userDrawn="1"/>
        </p:nvGrpSpPr>
        <p:grpSpPr>
          <a:xfrm>
            <a:off x="375349" y="1380840"/>
            <a:ext cx="3751898" cy="4362208"/>
            <a:chOff x="690562" y="1380840"/>
            <a:chExt cx="3751898" cy="4362208"/>
          </a:xfrm>
        </p:grpSpPr>
        <p:grpSp>
          <p:nvGrpSpPr>
            <p:cNvPr id="12" name="Group 11">
              <a:extLst>
                <a:ext uri="{FF2B5EF4-FFF2-40B4-BE49-F238E27FC236}">
                  <a16:creationId xmlns:a16="http://schemas.microsoft.com/office/drawing/2014/main" id="{F337953D-7DDD-4803-BB45-11C4E5D251E0}"/>
                </a:ext>
              </a:extLst>
            </p:cNvPr>
            <p:cNvGrpSpPr/>
            <p:nvPr/>
          </p:nvGrpSpPr>
          <p:grpSpPr>
            <a:xfrm>
              <a:off x="690562" y="1380840"/>
              <a:ext cx="3751898" cy="4362208"/>
              <a:chOff x="690562" y="1380840"/>
              <a:chExt cx="3751898" cy="4362208"/>
            </a:xfrm>
          </p:grpSpPr>
          <p:sp>
            <p:nvSpPr>
              <p:cNvPr id="14" name="Rectangle 13">
                <a:extLst>
                  <a:ext uri="{FF2B5EF4-FFF2-40B4-BE49-F238E27FC236}">
                    <a16:creationId xmlns:a16="http://schemas.microsoft.com/office/drawing/2014/main" id="{47BF9D13-9A1A-44CE-9F33-AE7E5EA0D966}"/>
                  </a:ext>
                </a:extLst>
              </p:cNvPr>
              <p:cNvSpPr>
                <a:spLocks noChangeAspect="1"/>
              </p:cNvSpPr>
              <p:nvPr/>
            </p:nvSpPr>
            <p:spPr bwMode="auto">
              <a:xfrm rot="16200000">
                <a:off x="1603300" y="3398468"/>
                <a:ext cx="4357440" cy="331710"/>
              </a:xfrm>
              <a:prstGeom prst="rect">
                <a:avLst/>
              </a:prstGeom>
              <a:solidFill>
                <a:schemeClr val="bg2"/>
              </a:solidFill>
              <a:ln w="3175" cap="flat" cmpd="sng" algn="ctr">
                <a:noFill/>
                <a:prstDash val="solid"/>
              </a:ln>
              <a:effectLst/>
            </p:spPr>
            <p:txBody>
              <a:bodyPr vert="horz" wrap="square" lIns="3708000" tIns="108000" rIns="72000" bIns="108000" rtlCol="0" anchor="ctr"/>
              <a:lstStyle/>
              <a:p>
                <a:pPr indent="-85669"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9. Information Foundation</a:t>
                </a:r>
              </a:p>
            </p:txBody>
          </p:sp>
          <p:sp>
            <p:nvSpPr>
              <p:cNvPr id="15" name="Rectangle 59">
                <a:extLst>
                  <a:ext uri="{FF2B5EF4-FFF2-40B4-BE49-F238E27FC236}">
                    <a16:creationId xmlns:a16="http://schemas.microsoft.com/office/drawing/2014/main" id="{76D5AB9C-645E-4918-AA0B-A9C358D5DB3A}"/>
                  </a:ext>
                </a:extLst>
              </p:cNvPr>
              <p:cNvSpPr>
                <a:spLocks noChangeArrowheads="1"/>
              </p:cNvSpPr>
              <p:nvPr/>
            </p:nvSpPr>
            <p:spPr bwMode="gray">
              <a:xfrm>
                <a:off x="3660682" y="2072640"/>
                <a:ext cx="242676" cy="360605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9.1 Information Foundation</a:t>
                </a:r>
              </a:p>
            </p:txBody>
          </p:sp>
          <p:sp>
            <p:nvSpPr>
              <p:cNvPr id="16" name="Rectangle 15">
                <a:extLst>
                  <a:ext uri="{FF2B5EF4-FFF2-40B4-BE49-F238E27FC236}">
                    <a16:creationId xmlns:a16="http://schemas.microsoft.com/office/drawing/2014/main" id="{6E2415D6-7CE5-4C04-89F0-19E858112AD3}"/>
                  </a:ext>
                </a:extLst>
              </p:cNvPr>
              <p:cNvSpPr>
                <a:spLocks noChangeAspect="1"/>
              </p:cNvSpPr>
              <p:nvPr/>
            </p:nvSpPr>
            <p:spPr bwMode="auto">
              <a:xfrm rot="16200000">
                <a:off x="1255863" y="3424386"/>
                <a:ext cx="4357443" cy="279874"/>
              </a:xfrm>
              <a:prstGeom prst="rect">
                <a:avLst/>
              </a:prstGeom>
              <a:solidFill>
                <a:schemeClr val="bg2"/>
              </a:solidFill>
              <a:ln w="3175" cap="flat" cmpd="sng" algn="ctr">
                <a:noFill/>
                <a:prstDash val="solid"/>
              </a:ln>
              <a:effectLst/>
            </p:spPr>
            <p:txBody>
              <a:bodyPr vert="horz" wrap="square" lIns="3708000" tIns="0" rIns="0" bIns="0" rtlCol="0" anchor="ctr"/>
              <a:lstStyle/>
              <a:p>
                <a:pPr marL="0" marR="0" lvl="0" indent="-85669"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8. Business Integration </a:t>
                </a:r>
              </a:p>
            </p:txBody>
          </p:sp>
          <p:grpSp>
            <p:nvGrpSpPr>
              <p:cNvPr id="21" name="Group 20">
                <a:extLst>
                  <a:ext uri="{FF2B5EF4-FFF2-40B4-BE49-F238E27FC236}">
                    <a16:creationId xmlns:a16="http://schemas.microsoft.com/office/drawing/2014/main" id="{B0FC21F4-A738-4978-9B9D-D9B3DA9F4C6F}"/>
                  </a:ext>
                </a:extLst>
              </p:cNvPr>
              <p:cNvGrpSpPr/>
              <p:nvPr/>
            </p:nvGrpSpPr>
            <p:grpSpPr>
              <a:xfrm>
                <a:off x="3989518" y="1385604"/>
                <a:ext cx="452942" cy="4357444"/>
                <a:chOff x="3989518" y="1385604"/>
                <a:chExt cx="452942" cy="4357444"/>
              </a:xfrm>
            </p:grpSpPr>
            <p:sp>
              <p:nvSpPr>
                <p:cNvPr id="45" name="Rectangle 44">
                  <a:extLst>
                    <a:ext uri="{FF2B5EF4-FFF2-40B4-BE49-F238E27FC236}">
                      <a16:creationId xmlns:a16="http://schemas.microsoft.com/office/drawing/2014/main" id="{B7AAB57A-4B15-4C5F-959F-CFE11B1A9EAD}"/>
                    </a:ext>
                  </a:extLst>
                </p:cNvPr>
                <p:cNvSpPr>
                  <a:spLocks noChangeAspect="1"/>
                </p:cNvSpPr>
                <p:nvPr/>
              </p:nvSpPr>
              <p:spPr bwMode="auto">
                <a:xfrm rot="16200000">
                  <a:off x="2037267" y="3337855"/>
                  <a:ext cx="4357444" cy="452942"/>
                </a:xfrm>
                <a:prstGeom prst="rect">
                  <a:avLst/>
                </a:prstGeom>
                <a:solidFill>
                  <a:schemeClr val="bg2"/>
                </a:solidFill>
                <a:ln w="3175" cap="flat" cmpd="sng" algn="ctr">
                  <a:noFill/>
                  <a:prstDash val="solid"/>
                </a:ln>
                <a:effectLst/>
              </p:spPr>
              <p:txBody>
                <a:bodyPr vert="horz" wrap="square" lIns="3528000" tIns="72000" rIns="108000" bIns="72000" rtlCol="0" anchor="ctr"/>
                <a:lstStyle/>
                <a:p>
                  <a:pPr indent="-85669" algn="r"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10. Business Insights &amp; Analytics </a:t>
                  </a:r>
                </a:p>
              </p:txBody>
            </p:sp>
            <p:sp>
              <p:nvSpPr>
                <p:cNvPr id="46" name="Rectangle 45">
                  <a:extLst>
                    <a:ext uri="{FF2B5EF4-FFF2-40B4-BE49-F238E27FC236}">
                      <a16:creationId xmlns:a16="http://schemas.microsoft.com/office/drawing/2014/main" id="{71CDBD4F-8456-4096-8508-903FDE114E93}"/>
                    </a:ext>
                  </a:extLst>
                </p:cNvPr>
                <p:cNvSpPr/>
                <p:nvPr/>
              </p:nvSpPr>
              <p:spPr>
                <a:xfrm>
                  <a:off x="4052005" y="4697885"/>
                  <a:ext cx="327966" cy="9808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4 Analytics Enablers</a:t>
                  </a:r>
                </a:p>
              </p:txBody>
            </p:sp>
            <p:sp>
              <p:nvSpPr>
                <p:cNvPr id="47" name="TextBox 46">
                  <a:extLst>
                    <a:ext uri="{FF2B5EF4-FFF2-40B4-BE49-F238E27FC236}">
                      <a16:creationId xmlns:a16="http://schemas.microsoft.com/office/drawing/2014/main" id="{0316C219-7911-42F2-8387-3ACA935DFE74}"/>
                    </a:ext>
                  </a:extLst>
                </p:cNvPr>
                <p:cNvSpPr txBox="1"/>
                <p:nvPr/>
              </p:nvSpPr>
              <p:spPr>
                <a:xfrm>
                  <a:off x="4053623" y="2072640"/>
                  <a:ext cx="3247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1 Marketing </a:t>
                  </a:r>
                </a:p>
                <a:p>
                  <a:pPr algn="ctr"/>
                  <a:r>
                    <a:rPr lang="en-US" sz="600">
                      <a:solidFill>
                        <a:schemeClr val="tx2"/>
                      </a:solidFill>
                      <a:latin typeface="+mj-lt"/>
                    </a:rPr>
                    <a:t>Analytics </a:t>
                  </a:r>
                </a:p>
              </p:txBody>
            </p:sp>
            <p:sp>
              <p:nvSpPr>
                <p:cNvPr id="48" name="TextBox 47">
                  <a:extLst>
                    <a:ext uri="{FF2B5EF4-FFF2-40B4-BE49-F238E27FC236}">
                      <a16:creationId xmlns:a16="http://schemas.microsoft.com/office/drawing/2014/main" id="{241D3F52-F693-4677-905E-1A2608F95767}"/>
                    </a:ext>
                  </a:extLst>
                </p:cNvPr>
                <p:cNvSpPr txBox="1">
                  <a:spLocks/>
                </p:cNvSpPr>
                <p:nvPr/>
              </p:nvSpPr>
              <p:spPr>
                <a:xfrm>
                  <a:off x="4053623" y="2905636"/>
                  <a:ext cx="324730" cy="8711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2  Underwriting</a:t>
                  </a:r>
                </a:p>
                <a:p>
                  <a:pPr algn="ctr"/>
                  <a:r>
                    <a:rPr lang="en-US" sz="600">
                      <a:solidFill>
                        <a:schemeClr val="tx2"/>
                      </a:solidFill>
                      <a:latin typeface="+mj-lt"/>
                    </a:rPr>
                    <a:t>&amp; Product Analytics</a:t>
                  </a:r>
                </a:p>
              </p:txBody>
            </p:sp>
            <p:sp>
              <p:nvSpPr>
                <p:cNvPr id="49" name="AutoShape 48">
                  <a:extLst>
                    <a:ext uri="{FF2B5EF4-FFF2-40B4-BE49-F238E27FC236}">
                      <a16:creationId xmlns:a16="http://schemas.microsoft.com/office/drawing/2014/main" id="{9275F200-92FE-4A6B-8BF9-CC865C02EFD0}"/>
                    </a:ext>
                  </a:extLst>
                </p:cNvPr>
                <p:cNvSpPr>
                  <a:spLocks noChangeArrowheads="1"/>
                </p:cNvSpPr>
                <p:nvPr/>
              </p:nvSpPr>
              <p:spPr bwMode="gray">
                <a:xfrm>
                  <a:off x="4052773" y="3864890"/>
                  <a:ext cx="3264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3 Operations</a:t>
                  </a:r>
                </a:p>
                <a:p>
                  <a:pPr algn="ctr" eaLnBrk="0" hangingPunct="0">
                    <a:buClr>
                      <a:srgbClr val="4F81BD"/>
                    </a:buClr>
                  </a:pPr>
                  <a:r>
                    <a:rPr lang="en-US" sz="600" b="1" kern="0">
                      <a:solidFill>
                        <a:schemeClr val="tx2"/>
                      </a:solidFill>
                      <a:latin typeface="+mj-lt"/>
                    </a:rPr>
                    <a:t>Analytics</a:t>
                  </a:r>
                </a:p>
              </p:txBody>
            </p:sp>
          </p:grpSp>
          <p:sp>
            <p:nvSpPr>
              <p:cNvPr id="22" name="Rectangle 21">
                <a:extLst>
                  <a:ext uri="{FF2B5EF4-FFF2-40B4-BE49-F238E27FC236}">
                    <a16:creationId xmlns:a16="http://schemas.microsoft.com/office/drawing/2014/main" id="{75178318-12BA-47F3-96B4-E16A5C7D1401}"/>
                  </a:ext>
                </a:extLst>
              </p:cNvPr>
              <p:cNvSpPr>
                <a:spLocks noChangeAspect="1"/>
              </p:cNvSpPr>
              <p:nvPr/>
            </p:nvSpPr>
            <p:spPr bwMode="auto">
              <a:xfrm>
                <a:off x="696105" y="5125635"/>
                <a:ext cx="2553387" cy="617413"/>
              </a:xfrm>
              <a:prstGeom prst="rect">
                <a:avLst/>
              </a:prstGeom>
              <a:solidFill>
                <a:schemeClr val="bg2"/>
              </a:solidFill>
              <a:ln w="3175" cap="flat" cmpd="sng" algn="ctr">
                <a:noFill/>
                <a:prstDash val="solid"/>
              </a:ln>
              <a:effectLst/>
            </p:spPr>
            <p:txBody>
              <a:bodyPr wrap="square" lIns="108000" tIns="108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7. Enterprise Functions</a:t>
                </a:r>
              </a:p>
            </p:txBody>
          </p:sp>
          <p:sp>
            <p:nvSpPr>
              <p:cNvPr id="23" name="Rectangle 43">
                <a:extLst>
                  <a:ext uri="{FF2B5EF4-FFF2-40B4-BE49-F238E27FC236}">
                    <a16:creationId xmlns:a16="http://schemas.microsoft.com/office/drawing/2014/main" id="{35B1A11A-D0E1-47D6-B985-BCDF68FB2DDB}"/>
                  </a:ext>
                </a:extLst>
              </p:cNvPr>
              <p:cNvSpPr>
                <a:spLocks noChangeArrowheads="1"/>
              </p:cNvSpPr>
              <p:nvPr/>
            </p:nvSpPr>
            <p:spPr bwMode="auto">
              <a:xfrm>
                <a:off x="787401" y="5364024"/>
                <a:ext cx="2417856" cy="303962"/>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7.1 Corporate Functions</a:t>
                </a:r>
              </a:p>
            </p:txBody>
          </p:sp>
          <p:sp>
            <p:nvSpPr>
              <p:cNvPr id="24" name="Rectangle 23">
                <a:extLst>
                  <a:ext uri="{FF2B5EF4-FFF2-40B4-BE49-F238E27FC236}">
                    <a16:creationId xmlns:a16="http://schemas.microsoft.com/office/drawing/2014/main" id="{EAD309D1-62A8-484A-A4CA-CDAE0E2CEE58}"/>
                  </a:ext>
                </a:extLst>
              </p:cNvPr>
              <p:cNvSpPr>
                <a:spLocks noChangeAspect="1"/>
              </p:cNvSpPr>
              <p:nvPr/>
            </p:nvSpPr>
            <p:spPr bwMode="auto">
              <a:xfrm>
                <a:off x="690563" y="1380840"/>
                <a:ext cx="2557678" cy="1206571"/>
              </a:xfrm>
              <a:prstGeom prst="rect">
                <a:avLst/>
              </a:prstGeom>
              <a:solidFill>
                <a:schemeClr val="bg2"/>
              </a:solidFill>
              <a:ln w="3175" cap="flat" cmpd="sng" algn="ctr">
                <a:noFill/>
                <a:prstDash val="solid"/>
              </a:ln>
              <a:effectLst/>
            </p:spPr>
            <p:txBody>
              <a:bodyPr vert="horz" wrap="square" lIns="108000" tIns="72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1. Channel Mgmt.</a:t>
                </a:r>
              </a:p>
            </p:txBody>
          </p:sp>
          <p:sp>
            <p:nvSpPr>
              <p:cNvPr id="25" name="Rectangle 24">
                <a:extLst>
                  <a:ext uri="{FF2B5EF4-FFF2-40B4-BE49-F238E27FC236}">
                    <a16:creationId xmlns:a16="http://schemas.microsoft.com/office/drawing/2014/main" id="{6F952E10-02BB-449E-8C73-5CD239ADFD9A}"/>
                  </a:ext>
                </a:extLst>
              </p:cNvPr>
              <p:cNvSpPr>
                <a:spLocks noChangeAspect="1"/>
              </p:cNvSpPr>
              <p:nvPr/>
            </p:nvSpPr>
            <p:spPr bwMode="auto">
              <a:xfrm>
                <a:off x="696106" y="3615896"/>
                <a:ext cx="2553386" cy="1434677"/>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6. Product &amp; Operations</a:t>
                </a:r>
              </a:p>
            </p:txBody>
          </p:sp>
          <p:sp>
            <p:nvSpPr>
              <p:cNvPr id="26" name="Rectangle 25">
                <a:extLst>
                  <a:ext uri="{FF2B5EF4-FFF2-40B4-BE49-F238E27FC236}">
                    <a16:creationId xmlns:a16="http://schemas.microsoft.com/office/drawing/2014/main" id="{8BF70FB4-D920-46B1-B187-B374D2759BA8}"/>
                  </a:ext>
                </a:extLst>
              </p:cNvPr>
              <p:cNvSpPr/>
              <p:nvPr/>
            </p:nvSpPr>
            <p:spPr bwMode="auto">
              <a:xfrm>
                <a:off x="787400" y="3835400"/>
                <a:ext cx="2423069" cy="35001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1 </a:t>
                </a:r>
              </a:p>
              <a:p>
                <a:pPr algn="ctr" eaLnBrk="0" hangingPunct="0">
                  <a:buClr>
                    <a:srgbClr val="4F81BD"/>
                  </a:buClr>
                </a:pPr>
                <a:r>
                  <a:rPr lang="en-US" sz="600" b="1" kern="0">
                    <a:solidFill>
                      <a:schemeClr val="tx2"/>
                    </a:solidFill>
                    <a:latin typeface="+mj-lt"/>
                  </a:rPr>
                  <a:t>Cross Capability</a:t>
                </a:r>
              </a:p>
            </p:txBody>
          </p:sp>
          <p:sp>
            <p:nvSpPr>
              <p:cNvPr id="27" name="Rectangle 26">
                <a:extLst>
                  <a:ext uri="{FF2B5EF4-FFF2-40B4-BE49-F238E27FC236}">
                    <a16:creationId xmlns:a16="http://schemas.microsoft.com/office/drawing/2014/main" id="{37953633-029B-47AD-B894-BE3B5A6E816F}"/>
                  </a:ext>
                </a:extLst>
              </p:cNvPr>
              <p:cNvSpPr/>
              <p:nvPr/>
            </p:nvSpPr>
            <p:spPr bwMode="auto">
              <a:xfrm>
                <a:off x="1197589" y="4247352"/>
                <a:ext cx="45334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3 </a:t>
                </a:r>
              </a:p>
              <a:p>
                <a:pPr algn="ctr" eaLnBrk="0" hangingPunct="0">
                  <a:buClr>
                    <a:srgbClr val="4F81BD"/>
                  </a:buClr>
                </a:pPr>
                <a:r>
                  <a:rPr lang="en-US" sz="600" b="1" kern="0">
                    <a:solidFill>
                      <a:schemeClr val="tx2"/>
                    </a:solidFill>
                    <a:latin typeface="+mj-lt"/>
                  </a:rPr>
                  <a:t>Life </a:t>
                </a:r>
              </a:p>
              <a:p>
                <a:pPr algn="ctr" eaLnBrk="0" hangingPunct="0">
                  <a:buClr>
                    <a:srgbClr val="4F81BD"/>
                  </a:buClr>
                </a:pPr>
                <a:r>
                  <a:rPr lang="en-US" sz="600" b="1" kern="0">
                    <a:solidFill>
                      <a:schemeClr val="tx2"/>
                    </a:solidFill>
                    <a:latin typeface="+mj-lt"/>
                  </a:rPr>
                  <a:t>Insurance</a:t>
                </a:r>
              </a:p>
            </p:txBody>
          </p:sp>
          <p:sp>
            <p:nvSpPr>
              <p:cNvPr id="28" name="Rectangle 27">
                <a:extLst>
                  <a:ext uri="{FF2B5EF4-FFF2-40B4-BE49-F238E27FC236}">
                    <a16:creationId xmlns:a16="http://schemas.microsoft.com/office/drawing/2014/main" id="{2FD82C11-494E-4886-AA23-EA6514C70B55}"/>
                  </a:ext>
                </a:extLst>
              </p:cNvPr>
              <p:cNvSpPr/>
              <p:nvPr/>
            </p:nvSpPr>
            <p:spPr bwMode="auto">
              <a:xfrm>
                <a:off x="1684398" y="4247352"/>
                <a:ext cx="372607"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4 </a:t>
                </a:r>
              </a:p>
              <a:p>
                <a:pPr algn="ctr" eaLnBrk="0" hangingPunct="0">
                  <a:buClr>
                    <a:srgbClr val="4F81BD"/>
                  </a:buClr>
                </a:pPr>
                <a:r>
                  <a:rPr lang="en-US" sz="600" b="1" kern="0">
                    <a:solidFill>
                      <a:schemeClr val="tx2"/>
                    </a:solidFill>
                    <a:latin typeface="+mj-lt"/>
                  </a:rPr>
                  <a:t>Annuity</a:t>
                </a:r>
              </a:p>
            </p:txBody>
          </p:sp>
          <p:sp>
            <p:nvSpPr>
              <p:cNvPr id="29" name="Rectangle 28">
                <a:extLst>
                  <a:ext uri="{FF2B5EF4-FFF2-40B4-BE49-F238E27FC236}">
                    <a16:creationId xmlns:a16="http://schemas.microsoft.com/office/drawing/2014/main" id="{5716AA67-B9C9-471F-A770-6E9ADA71703B}"/>
                  </a:ext>
                </a:extLst>
              </p:cNvPr>
              <p:cNvSpPr/>
              <p:nvPr/>
            </p:nvSpPr>
            <p:spPr bwMode="auto">
              <a:xfrm>
                <a:off x="2090467" y="4247355"/>
                <a:ext cx="474172"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5 </a:t>
                </a:r>
              </a:p>
              <a:p>
                <a:pPr algn="ctr" eaLnBrk="0" hangingPunct="0">
                  <a:buClr>
                    <a:srgbClr val="4F81BD"/>
                  </a:buClr>
                </a:pPr>
                <a:r>
                  <a:rPr lang="en-US" sz="600" b="1" kern="0">
                    <a:solidFill>
                      <a:schemeClr val="tx2"/>
                    </a:solidFill>
                    <a:latin typeface="+mj-lt"/>
                  </a:rPr>
                  <a:t>Group </a:t>
                </a:r>
              </a:p>
              <a:p>
                <a:pPr algn="ctr" eaLnBrk="0" hangingPunct="0">
                  <a:buClr>
                    <a:srgbClr val="4F81BD"/>
                  </a:buClr>
                </a:pPr>
                <a:r>
                  <a:rPr lang="en-US" sz="600" b="1" kern="0">
                    <a:solidFill>
                      <a:schemeClr val="tx2"/>
                    </a:solidFill>
                    <a:latin typeface="+mj-lt"/>
                  </a:rPr>
                  <a:t>Insurance</a:t>
                </a:r>
              </a:p>
            </p:txBody>
          </p:sp>
          <p:sp>
            <p:nvSpPr>
              <p:cNvPr id="30" name="Rectangle 29">
                <a:extLst>
                  <a:ext uri="{FF2B5EF4-FFF2-40B4-BE49-F238E27FC236}">
                    <a16:creationId xmlns:a16="http://schemas.microsoft.com/office/drawing/2014/main" id="{FD704D02-215B-4B80-A39A-B237118E22F0}"/>
                  </a:ext>
                </a:extLst>
              </p:cNvPr>
              <p:cNvSpPr/>
              <p:nvPr/>
            </p:nvSpPr>
            <p:spPr bwMode="auto">
              <a:xfrm>
                <a:off x="2598101" y="4247355"/>
                <a:ext cx="612368"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6 </a:t>
                </a:r>
              </a:p>
              <a:p>
                <a:pPr algn="ctr" eaLnBrk="0" hangingPunct="0">
                  <a:buClr>
                    <a:srgbClr val="4F81BD"/>
                  </a:buClr>
                </a:pPr>
                <a:r>
                  <a:rPr lang="en-US" sz="600" b="1" kern="0">
                    <a:solidFill>
                      <a:schemeClr val="tx2"/>
                    </a:solidFill>
                    <a:latin typeface="+mj-lt"/>
                  </a:rPr>
                  <a:t>Retirements</a:t>
                </a:r>
              </a:p>
            </p:txBody>
          </p:sp>
          <p:sp>
            <p:nvSpPr>
              <p:cNvPr id="31" name="Rectangle 30">
                <a:extLst>
                  <a:ext uri="{FF2B5EF4-FFF2-40B4-BE49-F238E27FC236}">
                    <a16:creationId xmlns:a16="http://schemas.microsoft.com/office/drawing/2014/main" id="{9FC82BDE-E132-40E9-91FA-B9A95055D98D}"/>
                  </a:ext>
                </a:extLst>
              </p:cNvPr>
              <p:cNvSpPr/>
              <p:nvPr/>
            </p:nvSpPr>
            <p:spPr bwMode="auto">
              <a:xfrm>
                <a:off x="787400" y="4247352"/>
                <a:ext cx="37672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2 </a:t>
                </a:r>
              </a:p>
              <a:p>
                <a:pPr algn="ctr" eaLnBrk="0" hangingPunct="0">
                  <a:buClr>
                    <a:srgbClr val="4F81BD"/>
                  </a:buClr>
                </a:pPr>
                <a:r>
                  <a:rPr lang="en-US" sz="600" b="1" kern="0">
                    <a:solidFill>
                      <a:schemeClr val="tx2"/>
                    </a:solidFill>
                    <a:latin typeface="+mj-lt"/>
                  </a:rPr>
                  <a:t>Product </a:t>
                </a:r>
              </a:p>
              <a:p>
                <a:pPr algn="ctr" eaLnBrk="0" hangingPunct="0">
                  <a:buClr>
                    <a:srgbClr val="4F81BD"/>
                  </a:buClr>
                </a:pPr>
                <a:r>
                  <a:rPr lang="en-US" sz="600" b="1" kern="0">
                    <a:solidFill>
                      <a:schemeClr val="tx2"/>
                    </a:solidFill>
                    <a:latin typeface="+mj-lt"/>
                  </a:rPr>
                  <a:t>Mgmt.</a:t>
                </a:r>
              </a:p>
            </p:txBody>
          </p:sp>
          <p:sp>
            <p:nvSpPr>
              <p:cNvPr id="32" name="Rectangle 31">
                <a:extLst>
                  <a:ext uri="{FF2B5EF4-FFF2-40B4-BE49-F238E27FC236}">
                    <a16:creationId xmlns:a16="http://schemas.microsoft.com/office/drawing/2014/main" id="{418E425F-3220-4FC7-94A9-D10D4BC06DA3}"/>
                  </a:ext>
                </a:extLst>
              </p:cNvPr>
              <p:cNvSpPr>
                <a:spLocks/>
              </p:cNvSpPr>
              <p:nvPr/>
            </p:nvSpPr>
            <p:spPr bwMode="auto">
              <a:xfrm>
                <a:off x="782637" y="1932182"/>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2 Engagement Mediums</a:t>
                </a:r>
              </a:p>
            </p:txBody>
          </p:sp>
          <p:sp>
            <p:nvSpPr>
              <p:cNvPr id="33" name="Rectangle 32">
                <a:extLst>
                  <a:ext uri="{FF2B5EF4-FFF2-40B4-BE49-F238E27FC236}">
                    <a16:creationId xmlns:a16="http://schemas.microsoft.com/office/drawing/2014/main" id="{2031C32C-5343-453E-A135-820FF7B314EB}"/>
                  </a:ext>
                </a:extLst>
              </p:cNvPr>
              <p:cNvSpPr>
                <a:spLocks/>
              </p:cNvSpPr>
              <p:nvPr/>
            </p:nvSpPr>
            <p:spPr bwMode="auto">
              <a:xfrm>
                <a:off x="782637" y="2250361"/>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3 Customer Experience Management</a:t>
                </a:r>
              </a:p>
            </p:txBody>
          </p:sp>
          <p:sp>
            <p:nvSpPr>
              <p:cNvPr id="34" name="Rectangle 33">
                <a:extLst>
                  <a:ext uri="{FF2B5EF4-FFF2-40B4-BE49-F238E27FC236}">
                    <a16:creationId xmlns:a16="http://schemas.microsoft.com/office/drawing/2014/main" id="{D5A45267-84C3-4987-BB2A-55A022C0094E}"/>
                  </a:ext>
                </a:extLst>
              </p:cNvPr>
              <p:cNvSpPr>
                <a:spLocks noChangeAspect="1"/>
              </p:cNvSpPr>
              <p:nvPr/>
            </p:nvSpPr>
            <p:spPr bwMode="auto">
              <a:xfrm>
                <a:off x="690562" y="2640135"/>
                <a:ext cx="755649"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2. Distribution Mgmt.</a:t>
                </a:r>
              </a:p>
            </p:txBody>
          </p:sp>
          <p:sp>
            <p:nvSpPr>
              <p:cNvPr id="35" name="Rectangle 34">
                <a:extLst>
                  <a:ext uri="{FF2B5EF4-FFF2-40B4-BE49-F238E27FC236}">
                    <a16:creationId xmlns:a16="http://schemas.microsoft.com/office/drawing/2014/main" id="{7D6E4B6E-4F57-4B7E-B972-53B2B967D9C2}"/>
                  </a:ext>
                </a:extLst>
              </p:cNvPr>
              <p:cNvSpPr>
                <a:spLocks noChangeAspect="1"/>
              </p:cNvSpPr>
              <p:nvPr/>
            </p:nvSpPr>
            <p:spPr bwMode="auto">
              <a:xfrm>
                <a:off x="1494463" y="2640135"/>
                <a:ext cx="753780"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3. Marketing Mgmt.</a:t>
                </a:r>
              </a:p>
            </p:txBody>
          </p:sp>
          <p:sp>
            <p:nvSpPr>
              <p:cNvPr id="36" name="Rectangle 35">
                <a:extLst>
                  <a:ext uri="{FF2B5EF4-FFF2-40B4-BE49-F238E27FC236}">
                    <a16:creationId xmlns:a16="http://schemas.microsoft.com/office/drawing/2014/main" id="{E7419409-1221-43AC-BA60-831FFCECB979}"/>
                  </a:ext>
                </a:extLst>
              </p:cNvPr>
              <p:cNvSpPr>
                <a:spLocks/>
              </p:cNvSpPr>
              <p:nvPr/>
            </p:nvSpPr>
            <p:spPr bwMode="auto">
              <a:xfrm>
                <a:off x="1554552" y="3248826"/>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2 </a:t>
                </a:r>
              </a:p>
              <a:p>
                <a:pPr algn="ctr" eaLnBrk="0" hangingPunct="0">
                  <a:buClr>
                    <a:srgbClr val="4F81BD"/>
                  </a:buClr>
                </a:pPr>
                <a:r>
                  <a:rPr lang="en-US" sz="600" b="1" kern="0">
                    <a:solidFill>
                      <a:schemeClr val="tx2"/>
                    </a:solidFill>
                    <a:latin typeface="+mj-lt"/>
                  </a:rPr>
                  <a:t>Marketing</a:t>
                </a:r>
              </a:p>
            </p:txBody>
          </p:sp>
          <p:sp>
            <p:nvSpPr>
              <p:cNvPr id="37" name="Rectangle 36">
                <a:extLst>
                  <a:ext uri="{FF2B5EF4-FFF2-40B4-BE49-F238E27FC236}">
                    <a16:creationId xmlns:a16="http://schemas.microsoft.com/office/drawing/2014/main" id="{680C5488-37E0-4DAB-AA93-015A7F272E91}"/>
                  </a:ext>
                </a:extLst>
              </p:cNvPr>
              <p:cNvSpPr/>
              <p:nvPr/>
            </p:nvSpPr>
            <p:spPr bwMode="auto">
              <a:xfrm>
                <a:off x="1554552" y="2938090"/>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1 Digital Marketing</a:t>
                </a:r>
              </a:p>
            </p:txBody>
          </p:sp>
          <p:sp>
            <p:nvSpPr>
              <p:cNvPr id="38" name="Rectangle 37">
                <a:extLst>
                  <a:ext uri="{FF2B5EF4-FFF2-40B4-BE49-F238E27FC236}">
                    <a16:creationId xmlns:a16="http://schemas.microsoft.com/office/drawing/2014/main" id="{64558201-24FC-4DCA-8C8D-5DC1CB9D1DA7}"/>
                  </a:ext>
                </a:extLst>
              </p:cNvPr>
              <p:cNvSpPr>
                <a:spLocks noChangeAspect="1"/>
              </p:cNvSpPr>
              <p:nvPr/>
            </p:nvSpPr>
            <p:spPr bwMode="auto">
              <a:xfrm>
                <a:off x="2296495" y="2640134"/>
                <a:ext cx="422266" cy="907297"/>
              </a:xfrm>
              <a:prstGeom prst="rect">
                <a:avLst/>
              </a:prstGeom>
              <a:solidFill>
                <a:schemeClr val="bg2"/>
              </a:solidFill>
              <a:ln w="3175" cap="flat" cmpd="sng" algn="ctr">
                <a:noFill/>
                <a:prstDash val="solid"/>
              </a:ln>
              <a:effectLst/>
            </p:spPr>
            <p:txBody>
              <a:bodyPr wrap="square" lIns="72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4. Sales Mgmt.</a:t>
                </a:r>
              </a:p>
            </p:txBody>
          </p:sp>
          <p:sp>
            <p:nvSpPr>
              <p:cNvPr id="39" name="Rectangle 38">
                <a:extLst>
                  <a:ext uri="{FF2B5EF4-FFF2-40B4-BE49-F238E27FC236}">
                    <a16:creationId xmlns:a16="http://schemas.microsoft.com/office/drawing/2014/main" id="{679E380D-46AC-47A5-AE2C-4765F0489A24}"/>
                  </a:ext>
                </a:extLst>
              </p:cNvPr>
              <p:cNvSpPr/>
              <p:nvPr/>
            </p:nvSpPr>
            <p:spPr bwMode="auto">
              <a:xfrm>
                <a:off x="2369196" y="2938508"/>
                <a:ext cx="276864" cy="55962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4.4 </a:t>
                </a:r>
              </a:p>
              <a:p>
                <a:pPr algn="ctr" eaLnBrk="0" hangingPunct="0">
                  <a:buClr>
                    <a:srgbClr val="4F81BD"/>
                  </a:buClr>
                </a:pPr>
                <a:r>
                  <a:rPr lang="en-US" sz="600" b="1" kern="0">
                    <a:solidFill>
                      <a:schemeClr val="tx2"/>
                    </a:solidFill>
                    <a:latin typeface="+mj-lt"/>
                  </a:rPr>
                  <a:t>Sales</a:t>
                </a:r>
              </a:p>
            </p:txBody>
          </p:sp>
          <p:sp>
            <p:nvSpPr>
              <p:cNvPr id="40" name="Rectangle 39">
                <a:extLst>
                  <a:ext uri="{FF2B5EF4-FFF2-40B4-BE49-F238E27FC236}">
                    <a16:creationId xmlns:a16="http://schemas.microsoft.com/office/drawing/2014/main" id="{13B7AF18-D4A4-4F26-9076-E22CD88A4E00}"/>
                  </a:ext>
                </a:extLst>
              </p:cNvPr>
              <p:cNvSpPr>
                <a:spLocks noChangeAspect="1"/>
              </p:cNvSpPr>
              <p:nvPr/>
            </p:nvSpPr>
            <p:spPr bwMode="auto">
              <a:xfrm>
                <a:off x="2767012" y="2640134"/>
                <a:ext cx="477718" cy="914292"/>
              </a:xfrm>
              <a:prstGeom prst="rect">
                <a:avLst/>
              </a:prstGeom>
              <a:solidFill>
                <a:schemeClr val="bg2"/>
              </a:solidFill>
              <a:ln w="3175" cap="flat" cmpd="sng" algn="ctr">
                <a:noFill/>
                <a:prstDash val="solid"/>
              </a:ln>
              <a:effectLst/>
            </p:spPr>
            <p:txBody>
              <a:bodyPr wrap="square" lIns="36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5. Service Mgmt.</a:t>
                </a:r>
              </a:p>
            </p:txBody>
          </p:sp>
          <p:sp>
            <p:nvSpPr>
              <p:cNvPr id="41" name="Rectangle 40">
                <a:extLst>
                  <a:ext uri="{FF2B5EF4-FFF2-40B4-BE49-F238E27FC236}">
                    <a16:creationId xmlns:a16="http://schemas.microsoft.com/office/drawing/2014/main" id="{E3F7BDFD-F568-4F81-8A81-0EA8FA9075D1}"/>
                  </a:ext>
                </a:extLst>
              </p:cNvPr>
              <p:cNvSpPr>
                <a:spLocks/>
              </p:cNvSpPr>
              <p:nvPr/>
            </p:nvSpPr>
            <p:spPr bwMode="auto">
              <a:xfrm>
                <a:off x="2811249" y="2924806"/>
                <a:ext cx="389244" cy="57332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5.2 </a:t>
                </a:r>
              </a:p>
              <a:p>
                <a:pPr algn="ctr" eaLnBrk="0" hangingPunct="0">
                  <a:buClr>
                    <a:srgbClr val="4F81BD"/>
                  </a:buClr>
                </a:pPr>
                <a:r>
                  <a:rPr lang="en-US" sz="600" b="1" kern="0">
                    <a:solidFill>
                      <a:schemeClr val="tx2"/>
                    </a:solidFill>
                    <a:latin typeface="+mj-lt"/>
                  </a:rPr>
                  <a:t>Service</a:t>
                </a:r>
              </a:p>
            </p:txBody>
          </p:sp>
          <p:sp>
            <p:nvSpPr>
              <p:cNvPr id="42" name="Rectangle 41">
                <a:extLst>
                  <a:ext uri="{FF2B5EF4-FFF2-40B4-BE49-F238E27FC236}">
                    <a16:creationId xmlns:a16="http://schemas.microsoft.com/office/drawing/2014/main" id="{F2710BAE-5C45-455F-834F-D3E994F609A6}"/>
                  </a:ext>
                </a:extLst>
              </p:cNvPr>
              <p:cNvSpPr/>
              <p:nvPr/>
            </p:nvSpPr>
            <p:spPr bwMode="auto">
              <a:xfrm>
                <a:off x="782637" y="2938506"/>
                <a:ext cx="607035" cy="55963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2.1 </a:t>
                </a:r>
              </a:p>
              <a:p>
                <a:pPr algn="ctr" eaLnBrk="0" hangingPunct="0">
                  <a:buClr>
                    <a:srgbClr val="4F81BD"/>
                  </a:buClr>
                </a:pPr>
                <a:r>
                  <a:rPr lang="en-US" sz="600" b="1" kern="0">
                    <a:solidFill>
                      <a:schemeClr val="tx2"/>
                    </a:solidFill>
                    <a:latin typeface="+mj-lt"/>
                  </a:rPr>
                  <a:t>Distribution </a:t>
                </a:r>
              </a:p>
              <a:p>
                <a:pPr algn="ctr" eaLnBrk="0" hangingPunct="0">
                  <a:buClr>
                    <a:srgbClr val="4F81BD"/>
                  </a:buClr>
                </a:pPr>
                <a:r>
                  <a:rPr lang="en-US" sz="600" b="1" kern="0">
                    <a:solidFill>
                      <a:schemeClr val="tx2"/>
                    </a:solidFill>
                    <a:latin typeface="+mj-lt"/>
                  </a:rPr>
                  <a:t>&amp; Commission </a:t>
                </a:r>
              </a:p>
              <a:p>
                <a:pPr algn="ctr" eaLnBrk="0" hangingPunct="0">
                  <a:buClr>
                    <a:srgbClr val="4F81BD"/>
                  </a:buClr>
                </a:pPr>
                <a:r>
                  <a:rPr lang="en-US" sz="600" b="1" kern="0">
                    <a:solidFill>
                      <a:schemeClr val="tx2"/>
                    </a:solidFill>
                    <a:latin typeface="+mj-lt"/>
                  </a:rPr>
                  <a:t>Management</a:t>
                </a:r>
              </a:p>
            </p:txBody>
          </p:sp>
          <p:sp>
            <p:nvSpPr>
              <p:cNvPr id="43" name="Rectangle 59">
                <a:extLst>
                  <a:ext uri="{FF2B5EF4-FFF2-40B4-BE49-F238E27FC236}">
                    <a16:creationId xmlns:a16="http://schemas.microsoft.com/office/drawing/2014/main" id="{0F6ABAD3-AFCA-4348-BF0A-ADB104000D6C}"/>
                  </a:ext>
                </a:extLst>
              </p:cNvPr>
              <p:cNvSpPr>
                <a:spLocks noChangeArrowheads="1"/>
              </p:cNvSpPr>
              <p:nvPr/>
            </p:nvSpPr>
            <p:spPr bwMode="gray">
              <a:xfrm>
                <a:off x="3341154" y="3737130"/>
                <a:ext cx="201848" cy="193085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2  Enterprise Integration  Services Mgmt. </a:t>
                </a:r>
              </a:p>
            </p:txBody>
          </p:sp>
          <p:sp>
            <p:nvSpPr>
              <p:cNvPr id="44" name="Rectangle 59">
                <a:extLst>
                  <a:ext uri="{FF2B5EF4-FFF2-40B4-BE49-F238E27FC236}">
                    <a16:creationId xmlns:a16="http://schemas.microsoft.com/office/drawing/2014/main" id="{B6BE881C-F911-4735-9C55-F0339578F37D}"/>
                  </a:ext>
                </a:extLst>
              </p:cNvPr>
              <p:cNvSpPr>
                <a:spLocks noChangeArrowheads="1"/>
              </p:cNvSpPr>
              <p:nvPr/>
            </p:nvSpPr>
            <p:spPr bwMode="gray">
              <a:xfrm>
                <a:off x="3336393" y="2067877"/>
                <a:ext cx="200177" cy="162010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1  Business Process Mgmt. &amp; Orch.</a:t>
                </a:r>
              </a:p>
            </p:txBody>
          </p:sp>
        </p:grpSp>
        <p:sp>
          <p:nvSpPr>
            <p:cNvPr id="13" name="Rectangle 12">
              <a:extLst>
                <a:ext uri="{FF2B5EF4-FFF2-40B4-BE49-F238E27FC236}">
                  <a16:creationId xmlns:a16="http://schemas.microsoft.com/office/drawing/2014/main" id="{97A39741-9FC7-42F4-A7B8-E509B53C764B}"/>
                </a:ext>
              </a:extLst>
            </p:cNvPr>
            <p:cNvSpPr>
              <a:spLocks noChangeAspect="1"/>
            </p:cNvSpPr>
            <p:nvPr/>
          </p:nvSpPr>
          <p:spPr bwMode="auto">
            <a:xfrm>
              <a:off x="782637" y="1608160"/>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1 Channels </a:t>
              </a:r>
            </a:p>
          </p:txBody>
        </p:sp>
      </p:grpSp>
    </p:spTree>
    <p:extLst>
      <p:ext uri="{BB962C8B-B14F-4D97-AF65-F5344CB8AC3E}">
        <p14:creationId xmlns:p14="http://schemas.microsoft.com/office/powerpoint/2010/main" val="3971492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695323" y="2182000"/>
            <a:ext cx="2952689" cy="997196"/>
          </a:xfrm>
        </p:spPr>
        <p:txBody>
          <a:bodyPr/>
          <a:lstStyle>
            <a:lvl1pPr marL="0" indent="0">
              <a:lnSpc>
                <a:spcPct val="90000"/>
              </a:lnSpc>
              <a:buNone/>
              <a:defRPr sz="2400">
                <a:solidFill>
                  <a:schemeClr val="accent1"/>
                </a:solidFill>
                <a:latin typeface="GT Sectra Fine Bk" panose="000004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695325" y="1371601"/>
            <a:ext cx="2952688"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684402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684402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684402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684402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684402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684402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8, 2023</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374617294"/>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4"/>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801534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4"/>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grpSp>
        <p:nvGrpSpPr>
          <p:cNvPr id="11" name="Group 10">
            <a:extLst>
              <a:ext uri="{FF2B5EF4-FFF2-40B4-BE49-F238E27FC236}">
                <a16:creationId xmlns:a16="http://schemas.microsoft.com/office/drawing/2014/main" id="{7C7A2DD4-BB41-43EF-AFCA-8D06B7834929}"/>
              </a:ext>
            </a:extLst>
          </p:cNvPr>
          <p:cNvGrpSpPr/>
          <p:nvPr userDrawn="1"/>
        </p:nvGrpSpPr>
        <p:grpSpPr>
          <a:xfrm>
            <a:off x="381468" y="1380840"/>
            <a:ext cx="3751898" cy="4362208"/>
            <a:chOff x="690562" y="1380840"/>
            <a:chExt cx="3751898" cy="4362208"/>
          </a:xfrm>
        </p:grpSpPr>
        <p:grpSp>
          <p:nvGrpSpPr>
            <p:cNvPr id="12" name="Group 11">
              <a:extLst>
                <a:ext uri="{FF2B5EF4-FFF2-40B4-BE49-F238E27FC236}">
                  <a16:creationId xmlns:a16="http://schemas.microsoft.com/office/drawing/2014/main" id="{37D2F1EB-C201-4059-91A5-7722A568E181}"/>
                </a:ext>
              </a:extLst>
            </p:cNvPr>
            <p:cNvGrpSpPr/>
            <p:nvPr/>
          </p:nvGrpSpPr>
          <p:grpSpPr>
            <a:xfrm>
              <a:off x="690562" y="1380840"/>
              <a:ext cx="3751898" cy="4362208"/>
              <a:chOff x="690562" y="1380840"/>
              <a:chExt cx="3751898" cy="4362208"/>
            </a:xfrm>
          </p:grpSpPr>
          <p:sp>
            <p:nvSpPr>
              <p:cNvPr id="14" name="Rectangle 13">
                <a:extLst>
                  <a:ext uri="{FF2B5EF4-FFF2-40B4-BE49-F238E27FC236}">
                    <a16:creationId xmlns:a16="http://schemas.microsoft.com/office/drawing/2014/main" id="{DE88440D-1F09-4EE6-BBB6-49754E970EBE}"/>
                  </a:ext>
                </a:extLst>
              </p:cNvPr>
              <p:cNvSpPr>
                <a:spLocks noChangeAspect="1"/>
              </p:cNvSpPr>
              <p:nvPr/>
            </p:nvSpPr>
            <p:spPr bwMode="auto">
              <a:xfrm rot="16200000">
                <a:off x="1603300" y="3398468"/>
                <a:ext cx="4357440" cy="331710"/>
              </a:xfrm>
              <a:prstGeom prst="rect">
                <a:avLst/>
              </a:prstGeom>
              <a:solidFill>
                <a:schemeClr val="bg2"/>
              </a:solidFill>
              <a:ln w="3175" cap="flat" cmpd="sng" algn="ctr">
                <a:noFill/>
                <a:prstDash val="solid"/>
              </a:ln>
              <a:effectLst/>
            </p:spPr>
            <p:txBody>
              <a:bodyPr vert="horz" wrap="square" lIns="3708000" tIns="108000" rIns="72000" bIns="108000" rtlCol="0" anchor="ctr"/>
              <a:lstStyle/>
              <a:p>
                <a:pPr indent="-85669"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9. Information Foundation</a:t>
                </a:r>
              </a:p>
            </p:txBody>
          </p:sp>
          <p:sp>
            <p:nvSpPr>
              <p:cNvPr id="15" name="Rectangle 59">
                <a:extLst>
                  <a:ext uri="{FF2B5EF4-FFF2-40B4-BE49-F238E27FC236}">
                    <a16:creationId xmlns:a16="http://schemas.microsoft.com/office/drawing/2014/main" id="{64898113-8C6B-4BEB-99DB-B8A65A1CFD9F}"/>
                  </a:ext>
                </a:extLst>
              </p:cNvPr>
              <p:cNvSpPr>
                <a:spLocks noChangeArrowheads="1"/>
              </p:cNvSpPr>
              <p:nvPr/>
            </p:nvSpPr>
            <p:spPr bwMode="gray">
              <a:xfrm>
                <a:off x="3660682" y="2072640"/>
                <a:ext cx="242676" cy="360605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9.1 Information Foundation</a:t>
                </a:r>
              </a:p>
            </p:txBody>
          </p:sp>
          <p:sp>
            <p:nvSpPr>
              <p:cNvPr id="16" name="Rectangle 15">
                <a:extLst>
                  <a:ext uri="{FF2B5EF4-FFF2-40B4-BE49-F238E27FC236}">
                    <a16:creationId xmlns:a16="http://schemas.microsoft.com/office/drawing/2014/main" id="{2E092339-E803-4DA4-9EEB-A5EA84F5E0ED}"/>
                  </a:ext>
                </a:extLst>
              </p:cNvPr>
              <p:cNvSpPr>
                <a:spLocks noChangeAspect="1"/>
              </p:cNvSpPr>
              <p:nvPr/>
            </p:nvSpPr>
            <p:spPr bwMode="auto">
              <a:xfrm rot="16200000">
                <a:off x="1255863" y="3424386"/>
                <a:ext cx="4357443" cy="279874"/>
              </a:xfrm>
              <a:prstGeom prst="rect">
                <a:avLst/>
              </a:prstGeom>
              <a:solidFill>
                <a:schemeClr val="bg2"/>
              </a:solidFill>
              <a:ln w="3175" cap="flat" cmpd="sng" algn="ctr">
                <a:noFill/>
                <a:prstDash val="solid"/>
              </a:ln>
              <a:effectLst/>
            </p:spPr>
            <p:txBody>
              <a:bodyPr vert="horz" wrap="square" lIns="3708000" tIns="0" rIns="0" bIns="0" rtlCol="0" anchor="ctr"/>
              <a:lstStyle/>
              <a:p>
                <a:pPr marL="0" marR="0" lvl="0" indent="-85669"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8. Business Integration </a:t>
                </a:r>
              </a:p>
            </p:txBody>
          </p:sp>
          <p:grpSp>
            <p:nvGrpSpPr>
              <p:cNvPr id="21" name="Group 20">
                <a:extLst>
                  <a:ext uri="{FF2B5EF4-FFF2-40B4-BE49-F238E27FC236}">
                    <a16:creationId xmlns:a16="http://schemas.microsoft.com/office/drawing/2014/main" id="{FA933F42-7AEF-4567-B68F-35DEC480EDCE}"/>
                  </a:ext>
                </a:extLst>
              </p:cNvPr>
              <p:cNvGrpSpPr/>
              <p:nvPr/>
            </p:nvGrpSpPr>
            <p:grpSpPr>
              <a:xfrm>
                <a:off x="3989518" y="1385604"/>
                <a:ext cx="452942" cy="4357444"/>
                <a:chOff x="3989518" y="1385604"/>
                <a:chExt cx="452942" cy="4357444"/>
              </a:xfrm>
            </p:grpSpPr>
            <p:sp>
              <p:nvSpPr>
                <p:cNvPr id="45" name="Rectangle 44">
                  <a:extLst>
                    <a:ext uri="{FF2B5EF4-FFF2-40B4-BE49-F238E27FC236}">
                      <a16:creationId xmlns:a16="http://schemas.microsoft.com/office/drawing/2014/main" id="{A9352499-26F2-41A6-BE1E-5AE5D7C65462}"/>
                    </a:ext>
                  </a:extLst>
                </p:cNvPr>
                <p:cNvSpPr>
                  <a:spLocks noChangeAspect="1"/>
                </p:cNvSpPr>
                <p:nvPr/>
              </p:nvSpPr>
              <p:spPr bwMode="auto">
                <a:xfrm rot="16200000">
                  <a:off x="2037267" y="3337855"/>
                  <a:ext cx="4357444" cy="452942"/>
                </a:xfrm>
                <a:prstGeom prst="rect">
                  <a:avLst/>
                </a:prstGeom>
                <a:solidFill>
                  <a:schemeClr val="bg2"/>
                </a:solidFill>
                <a:ln w="3175" cap="flat" cmpd="sng" algn="ctr">
                  <a:noFill/>
                  <a:prstDash val="solid"/>
                </a:ln>
                <a:effectLst/>
              </p:spPr>
              <p:txBody>
                <a:bodyPr vert="horz" wrap="square" lIns="3528000" tIns="72000" rIns="108000" bIns="72000" rtlCol="0" anchor="ctr"/>
                <a:lstStyle/>
                <a:p>
                  <a:pPr indent="-85669" algn="r"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10. Business Insights &amp; Analytics </a:t>
                  </a:r>
                </a:p>
              </p:txBody>
            </p:sp>
            <p:sp>
              <p:nvSpPr>
                <p:cNvPr id="46" name="Rectangle 45">
                  <a:extLst>
                    <a:ext uri="{FF2B5EF4-FFF2-40B4-BE49-F238E27FC236}">
                      <a16:creationId xmlns:a16="http://schemas.microsoft.com/office/drawing/2014/main" id="{165E0617-B4A4-49CB-8367-9210275F3260}"/>
                    </a:ext>
                  </a:extLst>
                </p:cNvPr>
                <p:cNvSpPr/>
                <p:nvPr/>
              </p:nvSpPr>
              <p:spPr>
                <a:xfrm>
                  <a:off x="4052005" y="4697885"/>
                  <a:ext cx="327966" cy="9808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4 Analytics Enablers</a:t>
                  </a:r>
                </a:p>
              </p:txBody>
            </p:sp>
            <p:sp>
              <p:nvSpPr>
                <p:cNvPr id="47" name="TextBox 46">
                  <a:extLst>
                    <a:ext uri="{FF2B5EF4-FFF2-40B4-BE49-F238E27FC236}">
                      <a16:creationId xmlns:a16="http://schemas.microsoft.com/office/drawing/2014/main" id="{44E8E8C8-BAC1-403B-BECD-F76B66E7DD06}"/>
                    </a:ext>
                  </a:extLst>
                </p:cNvPr>
                <p:cNvSpPr txBox="1"/>
                <p:nvPr/>
              </p:nvSpPr>
              <p:spPr>
                <a:xfrm>
                  <a:off x="4053623" y="2072640"/>
                  <a:ext cx="3247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1 Marketing </a:t>
                  </a:r>
                </a:p>
                <a:p>
                  <a:pPr algn="ctr"/>
                  <a:r>
                    <a:rPr lang="en-US" sz="600">
                      <a:solidFill>
                        <a:schemeClr val="tx2"/>
                      </a:solidFill>
                      <a:latin typeface="+mj-lt"/>
                    </a:rPr>
                    <a:t>Analytics </a:t>
                  </a:r>
                </a:p>
              </p:txBody>
            </p:sp>
            <p:sp>
              <p:nvSpPr>
                <p:cNvPr id="48" name="TextBox 47">
                  <a:extLst>
                    <a:ext uri="{FF2B5EF4-FFF2-40B4-BE49-F238E27FC236}">
                      <a16:creationId xmlns:a16="http://schemas.microsoft.com/office/drawing/2014/main" id="{AAE61EB3-CE73-4412-8C89-E1799B837BA4}"/>
                    </a:ext>
                  </a:extLst>
                </p:cNvPr>
                <p:cNvSpPr txBox="1">
                  <a:spLocks/>
                </p:cNvSpPr>
                <p:nvPr/>
              </p:nvSpPr>
              <p:spPr>
                <a:xfrm>
                  <a:off x="4053623" y="2905636"/>
                  <a:ext cx="324730" cy="8711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2  Underwriting</a:t>
                  </a:r>
                </a:p>
                <a:p>
                  <a:pPr algn="ctr"/>
                  <a:r>
                    <a:rPr lang="en-US" sz="600">
                      <a:solidFill>
                        <a:schemeClr val="tx2"/>
                      </a:solidFill>
                      <a:latin typeface="+mj-lt"/>
                    </a:rPr>
                    <a:t>&amp; Product Analytics</a:t>
                  </a:r>
                </a:p>
              </p:txBody>
            </p:sp>
            <p:sp>
              <p:nvSpPr>
                <p:cNvPr id="49" name="AutoShape 48">
                  <a:extLst>
                    <a:ext uri="{FF2B5EF4-FFF2-40B4-BE49-F238E27FC236}">
                      <a16:creationId xmlns:a16="http://schemas.microsoft.com/office/drawing/2014/main" id="{2ADBE16E-A9A4-404E-91D8-9091A55E61CA}"/>
                    </a:ext>
                  </a:extLst>
                </p:cNvPr>
                <p:cNvSpPr>
                  <a:spLocks noChangeArrowheads="1"/>
                </p:cNvSpPr>
                <p:nvPr/>
              </p:nvSpPr>
              <p:spPr bwMode="gray">
                <a:xfrm>
                  <a:off x="4052773" y="3864890"/>
                  <a:ext cx="3264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3 Operations</a:t>
                  </a:r>
                </a:p>
                <a:p>
                  <a:pPr algn="ctr" eaLnBrk="0" hangingPunct="0">
                    <a:buClr>
                      <a:srgbClr val="4F81BD"/>
                    </a:buClr>
                  </a:pPr>
                  <a:r>
                    <a:rPr lang="en-US" sz="600" b="1" kern="0">
                      <a:solidFill>
                        <a:schemeClr val="tx2"/>
                      </a:solidFill>
                      <a:latin typeface="+mj-lt"/>
                    </a:rPr>
                    <a:t>Analytics</a:t>
                  </a:r>
                </a:p>
              </p:txBody>
            </p:sp>
          </p:grpSp>
          <p:sp>
            <p:nvSpPr>
              <p:cNvPr id="22" name="Rectangle 21">
                <a:extLst>
                  <a:ext uri="{FF2B5EF4-FFF2-40B4-BE49-F238E27FC236}">
                    <a16:creationId xmlns:a16="http://schemas.microsoft.com/office/drawing/2014/main" id="{645639E2-A5BF-4BEA-9DF2-4CDF15BEBC8C}"/>
                  </a:ext>
                </a:extLst>
              </p:cNvPr>
              <p:cNvSpPr>
                <a:spLocks noChangeAspect="1"/>
              </p:cNvSpPr>
              <p:nvPr/>
            </p:nvSpPr>
            <p:spPr bwMode="auto">
              <a:xfrm>
                <a:off x="696105" y="5125635"/>
                <a:ext cx="2553387" cy="617413"/>
              </a:xfrm>
              <a:prstGeom prst="rect">
                <a:avLst/>
              </a:prstGeom>
              <a:solidFill>
                <a:schemeClr val="bg2"/>
              </a:solidFill>
              <a:ln w="3175" cap="flat" cmpd="sng" algn="ctr">
                <a:noFill/>
                <a:prstDash val="solid"/>
              </a:ln>
              <a:effectLst/>
            </p:spPr>
            <p:txBody>
              <a:bodyPr wrap="square" lIns="108000" tIns="108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7. Enterprise Functions</a:t>
                </a:r>
              </a:p>
            </p:txBody>
          </p:sp>
          <p:sp>
            <p:nvSpPr>
              <p:cNvPr id="23" name="Rectangle 43">
                <a:extLst>
                  <a:ext uri="{FF2B5EF4-FFF2-40B4-BE49-F238E27FC236}">
                    <a16:creationId xmlns:a16="http://schemas.microsoft.com/office/drawing/2014/main" id="{A424BA80-4A40-41DF-9862-651DE31B5279}"/>
                  </a:ext>
                </a:extLst>
              </p:cNvPr>
              <p:cNvSpPr>
                <a:spLocks noChangeArrowheads="1"/>
              </p:cNvSpPr>
              <p:nvPr/>
            </p:nvSpPr>
            <p:spPr bwMode="auto">
              <a:xfrm>
                <a:off x="787401" y="5364024"/>
                <a:ext cx="2417856" cy="303962"/>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7.1 Corporate Functions</a:t>
                </a:r>
              </a:p>
            </p:txBody>
          </p:sp>
          <p:sp>
            <p:nvSpPr>
              <p:cNvPr id="24" name="Rectangle 23">
                <a:extLst>
                  <a:ext uri="{FF2B5EF4-FFF2-40B4-BE49-F238E27FC236}">
                    <a16:creationId xmlns:a16="http://schemas.microsoft.com/office/drawing/2014/main" id="{9E64D6CE-5832-479F-8DFB-4439621FC8E9}"/>
                  </a:ext>
                </a:extLst>
              </p:cNvPr>
              <p:cNvSpPr>
                <a:spLocks noChangeAspect="1"/>
              </p:cNvSpPr>
              <p:nvPr/>
            </p:nvSpPr>
            <p:spPr bwMode="auto">
              <a:xfrm>
                <a:off x="690563" y="1380840"/>
                <a:ext cx="2557678" cy="1206571"/>
              </a:xfrm>
              <a:prstGeom prst="rect">
                <a:avLst/>
              </a:prstGeom>
              <a:solidFill>
                <a:schemeClr val="bg2"/>
              </a:solidFill>
              <a:ln w="3175" cap="flat" cmpd="sng" algn="ctr">
                <a:noFill/>
                <a:prstDash val="solid"/>
              </a:ln>
              <a:effectLst/>
            </p:spPr>
            <p:txBody>
              <a:bodyPr vert="horz" wrap="square" lIns="108000" tIns="72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1. Channel Mgmt.</a:t>
                </a:r>
              </a:p>
            </p:txBody>
          </p:sp>
          <p:sp>
            <p:nvSpPr>
              <p:cNvPr id="25" name="Rectangle 24">
                <a:extLst>
                  <a:ext uri="{FF2B5EF4-FFF2-40B4-BE49-F238E27FC236}">
                    <a16:creationId xmlns:a16="http://schemas.microsoft.com/office/drawing/2014/main" id="{08645D85-A2A3-41E7-A19C-449A38056839}"/>
                  </a:ext>
                </a:extLst>
              </p:cNvPr>
              <p:cNvSpPr>
                <a:spLocks noChangeAspect="1"/>
              </p:cNvSpPr>
              <p:nvPr/>
            </p:nvSpPr>
            <p:spPr bwMode="auto">
              <a:xfrm>
                <a:off x="696106" y="3615896"/>
                <a:ext cx="2553386" cy="1434677"/>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6. Product &amp; Operations</a:t>
                </a:r>
              </a:p>
            </p:txBody>
          </p:sp>
          <p:sp>
            <p:nvSpPr>
              <p:cNvPr id="26" name="Rectangle 25">
                <a:extLst>
                  <a:ext uri="{FF2B5EF4-FFF2-40B4-BE49-F238E27FC236}">
                    <a16:creationId xmlns:a16="http://schemas.microsoft.com/office/drawing/2014/main" id="{F503930D-FD81-4380-BE6B-F343C34E8C65}"/>
                  </a:ext>
                </a:extLst>
              </p:cNvPr>
              <p:cNvSpPr/>
              <p:nvPr/>
            </p:nvSpPr>
            <p:spPr bwMode="auto">
              <a:xfrm>
                <a:off x="787400" y="3835400"/>
                <a:ext cx="2423069" cy="35001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1 </a:t>
                </a:r>
              </a:p>
              <a:p>
                <a:pPr algn="ctr" eaLnBrk="0" hangingPunct="0">
                  <a:buClr>
                    <a:srgbClr val="4F81BD"/>
                  </a:buClr>
                </a:pPr>
                <a:r>
                  <a:rPr lang="en-US" sz="600" b="1" kern="0">
                    <a:solidFill>
                      <a:schemeClr val="tx2"/>
                    </a:solidFill>
                    <a:latin typeface="+mj-lt"/>
                  </a:rPr>
                  <a:t>Cross Capability</a:t>
                </a:r>
              </a:p>
            </p:txBody>
          </p:sp>
          <p:sp>
            <p:nvSpPr>
              <p:cNvPr id="27" name="Rectangle 26">
                <a:extLst>
                  <a:ext uri="{FF2B5EF4-FFF2-40B4-BE49-F238E27FC236}">
                    <a16:creationId xmlns:a16="http://schemas.microsoft.com/office/drawing/2014/main" id="{8BFCBB46-1E12-4862-9E95-D3F7A657EF5D}"/>
                  </a:ext>
                </a:extLst>
              </p:cNvPr>
              <p:cNvSpPr/>
              <p:nvPr/>
            </p:nvSpPr>
            <p:spPr bwMode="auto">
              <a:xfrm>
                <a:off x="1197589" y="4247352"/>
                <a:ext cx="45334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3 </a:t>
                </a:r>
              </a:p>
              <a:p>
                <a:pPr algn="ctr" eaLnBrk="0" hangingPunct="0">
                  <a:buClr>
                    <a:srgbClr val="4F81BD"/>
                  </a:buClr>
                </a:pPr>
                <a:r>
                  <a:rPr lang="en-US" sz="600" b="1" kern="0">
                    <a:solidFill>
                      <a:schemeClr val="tx2"/>
                    </a:solidFill>
                    <a:latin typeface="+mj-lt"/>
                  </a:rPr>
                  <a:t>Life </a:t>
                </a:r>
              </a:p>
              <a:p>
                <a:pPr algn="ctr" eaLnBrk="0" hangingPunct="0">
                  <a:buClr>
                    <a:srgbClr val="4F81BD"/>
                  </a:buClr>
                </a:pPr>
                <a:r>
                  <a:rPr lang="en-US" sz="600" b="1" kern="0">
                    <a:solidFill>
                      <a:schemeClr val="tx2"/>
                    </a:solidFill>
                    <a:latin typeface="+mj-lt"/>
                  </a:rPr>
                  <a:t>Insurance</a:t>
                </a:r>
              </a:p>
            </p:txBody>
          </p:sp>
          <p:sp>
            <p:nvSpPr>
              <p:cNvPr id="28" name="Rectangle 27">
                <a:extLst>
                  <a:ext uri="{FF2B5EF4-FFF2-40B4-BE49-F238E27FC236}">
                    <a16:creationId xmlns:a16="http://schemas.microsoft.com/office/drawing/2014/main" id="{7B7F8BB1-3DBC-4A92-9BEF-9AEBC5E387C4}"/>
                  </a:ext>
                </a:extLst>
              </p:cNvPr>
              <p:cNvSpPr/>
              <p:nvPr/>
            </p:nvSpPr>
            <p:spPr bwMode="auto">
              <a:xfrm>
                <a:off x="1684398" y="4247352"/>
                <a:ext cx="372607"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4 </a:t>
                </a:r>
              </a:p>
              <a:p>
                <a:pPr algn="ctr" eaLnBrk="0" hangingPunct="0">
                  <a:buClr>
                    <a:srgbClr val="4F81BD"/>
                  </a:buClr>
                </a:pPr>
                <a:r>
                  <a:rPr lang="en-US" sz="600" b="1" kern="0">
                    <a:solidFill>
                      <a:schemeClr val="tx2"/>
                    </a:solidFill>
                    <a:latin typeface="+mj-lt"/>
                  </a:rPr>
                  <a:t>Annuity</a:t>
                </a:r>
              </a:p>
            </p:txBody>
          </p:sp>
          <p:sp>
            <p:nvSpPr>
              <p:cNvPr id="29" name="Rectangle 28">
                <a:extLst>
                  <a:ext uri="{FF2B5EF4-FFF2-40B4-BE49-F238E27FC236}">
                    <a16:creationId xmlns:a16="http://schemas.microsoft.com/office/drawing/2014/main" id="{7ECFC614-A8DC-4BB9-A97D-88CE636AE2D9}"/>
                  </a:ext>
                </a:extLst>
              </p:cNvPr>
              <p:cNvSpPr/>
              <p:nvPr/>
            </p:nvSpPr>
            <p:spPr bwMode="auto">
              <a:xfrm>
                <a:off x="2090467" y="4247355"/>
                <a:ext cx="474172"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5 </a:t>
                </a:r>
              </a:p>
              <a:p>
                <a:pPr algn="ctr" eaLnBrk="0" hangingPunct="0">
                  <a:buClr>
                    <a:srgbClr val="4F81BD"/>
                  </a:buClr>
                </a:pPr>
                <a:r>
                  <a:rPr lang="en-US" sz="600" b="1" kern="0">
                    <a:solidFill>
                      <a:schemeClr val="tx2"/>
                    </a:solidFill>
                    <a:latin typeface="+mj-lt"/>
                  </a:rPr>
                  <a:t>Group </a:t>
                </a:r>
              </a:p>
              <a:p>
                <a:pPr algn="ctr" eaLnBrk="0" hangingPunct="0">
                  <a:buClr>
                    <a:srgbClr val="4F81BD"/>
                  </a:buClr>
                </a:pPr>
                <a:r>
                  <a:rPr lang="en-US" sz="600" b="1" kern="0">
                    <a:solidFill>
                      <a:schemeClr val="tx2"/>
                    </a:solidFill>
                    <a:latin typeface="+mj-lt"/>
                  </a:rPr>
                  <a:t>Insurance</a:t>
                </a:r>
              </a:p>
            </p:txBody>
          </p:sp>
          <p:sp>
            <p:nvSpPr>
              <p:cNvPr id="30" name="Rectangle 29">
                <a:extLst>
                  <a:ext uri="{FF2B5EF4-FFF2-40B4-BE49-F238E27FC236}">
                    <a16:creationId xmlns:a16="http://schemas.microsoft.com/office/drawing/2014/main" id="{45C70840-0690-45A3-BD7A-942A2349559B}"/>
                  </a:ext>
                </a:extLst>
              </p:cNvPr>
              <p:cNvSpPr/>
              <p:nvPr/>
            </p:nvSpPr>
            <p:spPr bwMode="auto">
              <a:xfrm>
                <a:off x="2598101" y="4247355"/>
                <a:ext cx="612368"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6 </a:t>
                </a:r>
              </a:p>
              <a:p>
                <a:pPr algn="ctr" eaLnBrk="0" hangingPunct="0">
                  <a:buClr>
                    <a:srgbClr val="4F81BD"/>
                  </a:buClr>
                </a:pPr>
                <a:r>
                  <a:rPr lang="en-US" sz="600" b="1" kern="0">
                    <a:solidFill>
                      <a:schemeClr val="tx2"/>
                    </a:solidFill>
                    <a:latin typeface="+mj-lt"/>
                  </a:rPr>
                  <a:t>Retirements</a:t>
                </a:r>
              </a:p>
            </p:txBody>
          </p:sp>
          <p:sp>
            <p:nvSpPr>
              <p:cNvPr id="31" name="Rectangle 30">
                <a:extLst>
                  <a:ext uri="{FF2B5EF4-FFF2-40B4-BE49-F238E27FC236}">
                    <a16:creationId xmlns:a16="http://schemas.microsoft.com/office/drawing/2014/main" id="{B5E5E8D9-6B0E-48C2-B76A-EEFC6EED37FF}"/>
                  </a:ext>
                </a:extLst>
              </p:cNvPr>
              <p:cNvSpPr/>
              <p:nvPr/>
            </p:nvSpPr>
            <p:spPr bwMode="auto">
              <a:xfrm>
                <a:off x="787400" y="4247352"/>
                <a:ext cx="37672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2 </a:t>
                </a:r>
              </a:p>
              <a:p>
                <a:pPr algn="ctr" eaLnBrk="0" hangingPunct="0">
                  <a:buClr>
                    <a:srgbClr val="4F81BD"/>
                  </a:buClr>
                </a:pPr>
                <a:r>
                  <a:rPr lang="en-US" sz="600" b="1" kern="0">
                    <a:solidFill>
                      <a:schemeClr val="tx2"/>
                    </a:solidFill>
                    <a:latin typeface="+mj-lt"/>
                  </a:rPr>
                  <a:t>Product </a:t>
                </a:r>
              </a:p>
              <a:p>
                <a:pPr algn="ctr" eaLnBrk="0" hangingPunct="0">
                  <a:buClr>
                    <a:srgbClr val="4F81BD"/>
                  </a:buClr>
                </a:pPr>
                <a:r>
                  <a:rPr lang="en-US" sz="600" b="1" kern="0">
                    <a:solidFill>
                      <a:schemeClr val="tx2"/>
                    </a:solidFill>
                    <a:latin typeface="+mj-lt"/>
                  </a:rPr>
                  <a:t>Mgmt.</a:t>
                </a:r>
              </a:p>
            </p:txBody>
          </p:sp>
          <p:sp>
            <p:nvSpPr>
              <p:cNvPr id="32" name="Rectangle 31">
                <a:extLst>
                  <a:ext uri="{FF2B5EF4-FFF2-40B4-BE49-F238E27FC236}">
                    <a16:creationId xmlns:a16="http://schemas.microsoft.com/office/drawing/2014/main" id="{23688C39-31BF-4E4C-A273-CE498B95AA2E}"/>
                  </a:ext>
                </a:extLst>
              </p:cNvPr>
              <p:cNvSpPr>
                <a:spLocks/>
              </p:cNvSpPr>
              <p:nvPr/>
            </p:nvSpPr>
            <p:spPr bwMode="auto">
              <a:xfrm>
                <a:off x="782637" y="1932182"/>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2 Engagement Mediums</a:t>
                </a:r>
              </a:p>
            </p:txBody>
          </p:sp>
          <p:sp>
            <p:nvSpPr>
              <p:cNvPr id="33" name="Rectangle 32">
                <a:extLst>
                  <a:ext uri="{FF2B5EF4-FFF2-40B4-BE49-F238E27FC236}">
                    <a16:creationId xmlns:a16="http://schemas.microsoft.com/office/drawing/2014/main" id="{989090EB-4C4A-4EA5-8C98-048F9FF90522}"/>
                  </a:ext>
                </a:extLst>
              </p:cNvPr>
              <p:cNvSpPr>
                <a:spLocks/>
              </p:cNvSpPr>
              <p:nvPr/>
            </p:nvSpPr>
            <p:spPr bwMode="auto">
              <a:xfrm>
                <a:off x="782637" y="2250361"/>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3 Customer Experience Management</a:t>
                </a:r>
              </a:p>
            </p:txBody>
          </p:sp>
          <p:sp>
            <p:nvSpPr>
              <p:cNvPr id="34" name="Rectangle 33">
                <a:extLst>
                  <a:ext uri="{FF2B5EF4-FFF2-40B4-BE49-F238E27FC236}">
                    <a16:creationId xmlns:a16="http://schemas.microsoft.com/office/drawing/2014/main" id="{3A9DB801-E47D-4AFC-B369-1DD58E1FB46A}"/>
                  </a:ext>
                </a:extLst>
              </p:cNvPr>
              <p:cNvSpPr>
                <a:spLocks noChangeAspect="1"/>
              </p:cNvSpPr>
              <p:nvPr/>
            </p:nvSpPr>
            <p:spPr bwMode="auto">
              <a:xfrm>
                <a:off x="690562" y="2640135"/>
                <a:ext cx="755649"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2. Distribution Mgmt.</a:t>
                </a:r>
              </a:p>
            </p:txBody>
          </p:sp>
          <p:sp>
            <p:nvSpPr>
              <p:cNvPr id="35" name="Rectangle 34">
                <a:extLst>
                  <a:ext uri="{FF2B5EF4-FFF2-40B4-BE49-F238E27FC236}">
                    <a16:creationId xmlns:a16="http://schemas.microsoft.com/office/drawing/2014/main" id="{B18609FD-3C91-464A-BEAF-739287C5580C}"/>
                  </a:ext>
                </a:extLst>
              </p:cNvPr>
              <p:cNvSpPr>
                <a:spLocks noChangeAspect="1"/>
              </p:cNvSpPr>
              <p:nvPr/>
            </p:nvSpPr>
            <p:spPr bwMode="auto">
              <a:xfrm>
                <a:off x="1494463" y="2640135"/>
                <a:ext cx="753780"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3. Marketing Mgmt.</a:t>
                </a:r>
              </a:p>
            </p:txBody>
          </p:sp>
          <p:sp>
            <p:nvSpPr>
              <p:cNvPr id="36" name="Rectangle 35">
                <a:extLst>
                  <a:ext uri="{FF2B5EF4-FFF2-40B4-BE49-F238E27FC236}">
                    <a16:creationId xmlns:a16="http://schemas.microsoft.com/office/drawing/2014/main" id="{9DE08E54-168F-4A08-B10D-69F12CCF2CEF}"/>
                  </a:ext>
                </a:extLst>
              </p:cNvPr>
              <p:cNvSpPr>
                <a:spLocks/>
              </p:cNvSpPr>
              <p:nvPr/>
            </p:nvSpPr>
            <p:spPr bwMode="auto">
              <a:xfrm>
                <a:off x="1554552" y="3248826"/>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2 </a:t>
                </a:r>
              </a:p>
              <a:p>
                <a:pPr algn="ctr" eaLnBrk="0" hangingPunct="0">
                  <a:buClr>
                    <a:srgbClr val="4F81BD"/>
                  </a:buClr>
                </a:pPr>
                <a:r>
                  <a:rPr lang="en-US" sz="600" b="1" kern="0">
                    <a:solidFill>
                      <a:schemeClr val="tx2"/>
                    </a:solidFill>
                    <a:latin typeface="+mj-lt"/>
                  </a:rPr>
                  <a:t>Marketing</a:t>
                </a:r>
              </a:p>
            </p:txBody>
          </p:sp>
          <p:sp>
            <p:nvSpPr>
              <p:cNvPr id="37" name="Rectangle 36">
                <a:extLst>
                  <a:ext uri="{FF2B5EF4-FFF2-40B4-BE49-F238E27FC236}">
                    <a16:creationId xmlns:a16="http://schemas.microsoft.com/office/drawing/2014/main" id="{41A9F26C-B237-4300-ABC3-1FC963DD843E}"/>
                  </a:ext>
                </a:extLst>
              </p:cNvPr>
              <p:cNvSpPr/>
              <p:nvPr/>
            </p:nvSpPr>
            <p:spPr bwMode="auto">
              <a:xfrm>
                <a:off x="1554552" y="2938090"/>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1 Digital Marketing</a:t>
                </a:r>
              </a:p>
            </p:txBody>
          </p:sp>
          <p:sp>
            <p:nvSpPr>
              <p:cNvPr id="38" name="Rectangle 37">
                <a:extLst>
                  <a:ext uri="{FF2B5EF4-FFF2-40B4-BE49-F238E27FC236}">
                    <a16:creationId xmlns:a16="http://schemas.microsoft.com/office/drawing/2014/main" id="{52075063-5BC5-4556-8BE0-4579F9F98B2B}"/>
                  </a:ext>
                </a:extLst>
              </p:cNvPr>
              <p:cNvSpPr>
                <a:spLocks noChangeAspect="1"/>
              </p:cNvSpPr>
              <p:nvPr/>
            </p:nvSpPr>
            <p:spPr bwMode="auto">
              <a:xfrm>
                <a:off x="2296495" y="2640134"/>
                <a:ext cx="422266" cy="907297"/>
              </a:xfrm>
              <a:prstGeom prst="rect">
                <a:avLst/>
              </a:prstGeom>
              <a:solidFill>
                <a:schemeClr val="bg2"/>
              </a:solidFill>
              <a:ln w="3175" cap="flat" cmpd="sng" algn="ctr">
                <a:noFill/>
                <a:prstDash val="solid"/>
              </a:ln>
              <a:effectLst/>
            </p:spPr>
            <p:txBody>
              <a:bodyPr wrap="square" lIns="72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4. Sales Mgmt.</a:t>
                </a:r>
              </a:p>
            </p:txBody>
          </p:sp>
          <p:sp>
            <p:nvSpPr>
              <p:cNvPr id="39" name="Rectangle 38">
                <a:extLst>
                  <a:ext uri="{FF2B5EF4-FFF2-40B4-BE49-F238E27FC236}">
                    <a16:creationId xmlns:a16="http://schemas.microsoft.com/office/drawing/2014/main" id="{EBAB7C69-67A3-4A1C-B3DF-563C0142FE9D}"/>
                  </a:ext>
                </a:extLst>
              </p:cNvPr>
              <p:cNvSpPr/>
              <p:nvPr/>
            </p:nvSpPr>
            <p:spPr bwMode="auto">
              <a:xfrm>
                <a:off x="2369196" y="2938508"/>
                <a:ext cx="276864" cy="55962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4.4 </a:t>
                </a:r>
              </a:p>
              <a:p>
                <a:pPr algn="ctr" eaLnBrk="0" hangingPunct="0">
                  <a:buClr>
                    <a:srgbClr val="4F81BD"/>
                  </a:buClr>
                </a:pPr>
                <a:r>
                  <a:rPr lang="en-US" sz="600" b="1" kern="0">
                    <a:solidFill>
                      <a:schemeClr val="tx2"/>
                    </a:solidFill>
                    <a:latin typeface="+mj-lt"/>
                  </a:rPr>
                  <a:t>Sales</a:t>
                </a:r>
              </a:p>
            </p:txBody>
          </p:sp>
          <p:sp>
            <p:nvSpPr>
              <p:cNvPr id="40" name="Rectangle 39">
                <a:extLst>
                  <a:ext uri="{FF2B5EF4-FFF2-40B4-BE49-F238E27FC236}">
                    <a16:creationId xmlns:a16="http://schemas.microsoft.com/office/drawing/2014/main" id="{57030379-C2F7-4746-93F3-82198F2A7EA6}"/>
                  </a:ext>
                </a:extLst>
              </p:cNvPr>
              <p:cNvSpPr>
                <a:spLocks noChangeAspect="1"/>
              </p:cNvSpPr>
              <p:nvPr/>
            </p:nvSpPr>
            <p:spPr bwMode="auto">
              <a:xfrm>
                <a:off x="2767012" y="2640134"/>
                <a:ext cx="477718" cy="914292"/>
              </a:xfrm>
              <a:prstGeom prst="rect">
                <a:avLst/>
              </a:prstGeom>
              <a:solidFill>
                <a:schemeClr val="bg2"/>
              </a:solidFill>
              <a:ln w="3175" cap="flat" cmpd="sng" algn="ctr">
                <a:noFill/>
                <a:prstDash val="solid"/>
              </a:ln>
              <a:effectLst/>
            </p:spPr>
            <p:txBody>
              <a:bodyPr wrap="square" lIns="36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5. Service Mgmt.</a:t>
                </a:r>
              </a:p>
            </p:txBody>
          </p:sp>
          <p:sp>
            <p:nvSpPr>
              <p:cNvPr id="41" name="Rectangle 40">
                <a:extLst>
                  <a:ext uri="{FF2B5EF4-FFF2-40B4-BE49-F238E27FC236}">
                    <a16:creationId xmlns:a16="http://schemas.microsoft.com/office/drawing/2014/main" id="{F11C9124-3BFE-443A-80E3-910376BDFA19}"/>
                  </a:ext>
                </a:extLst>
              </p:cNvPr>
              <p:cNvSpPr>
                <a:spLocks/>
              </p:cNvSpPr>
              <p:nvPr/>
            </p:nvSpPr>
            <p:spPr bwMode="auto">
              <a:xfrm>
                <a:off x="2811249" y="2924806"/>
                <a:ext cx="389244" cy="57332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5.2 </a:t>
                </a:r>
              </a:p>
              <a:p>
                <a:pPr algn="ctr" eaLnBrk="0" hangingPunct="0">
                  <a:buClr>
                    <a:srgbClr val="4F81BD"/>
                  </a:buClr>
                </a:pPr>
                <a:r>
                  <a:rPr lang="en-US" sz="600" b="1" kern="0">
                    <a:solidFill>
                      <a:schemeClr val="tx2"/>
                    </a:solidFill>
                    <a:latin typeface="+mj-lt"/>
                  </a:rPr>
                  <a:t>Service</a:t>
                </a:r>
              </a:p>
            </p:txBody>
          </p:sp>
          <p:sp>
            <p:nvSpPr>
              <p:cNvPr id="42" name="Rectangle 41">
                <a:extLst>
                  <a:ext uri="{FF2B5EF4-FFF2-40B4-BE49-F238E27FC236}">
                    <a16:creationId xmlns:a16="http://schemas.microsoft.com/office/drawing/2014/main" id="{7ACACE20-448C-45D2-B3A3-BF7E35013A2F}"/>
                  </a:ext>
                </a:extLst>
              </p:cNvPr>
              <p:cNvSpPr/>
              <p:nvPr/>
            </p:nvSpPr>
            <p:spPr bwMode="auto">
              <a:xfrm>
                <a:off x="782637" y="2938506"/>
                <a:ext cx="607035" cy="55963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2.1 </a:t>
                </a:r>
              </a:p>
              <a:p>
                <a:pPr algn="ctr" eaLnBrk="0" hangingPunct="0">
                  <a:buClr>
                    <a:srgbClr val="4F81BD"/>
                  </a:buClr>
                </a:pPr>
                <a:r>
                  <a:rPr lang="en-US" sz="600" b="1" kern="0">
                    <a:solidFill>
                      <a:schemeClr val="tx2"/>
                    </a:solidFill>
                    <a:latin typeface="+mj-lt"/>
                  </a:rPr>
                  <a:t>Distribution </a:t>
                </a:r>
              </a:p>
              <a:p>
                <a:pPr algn="ctr" eaLnBrk="0" hangingPunct="0">
                  <a:buClr>
                    <a:srgbClr val="4F81BD"/>
                  </a:buClr>
                </a:pPr>
                <a:r>
                  <a:rPr lang="en-US" sz="600" b="1" kern="0">
                    <a:solidFill>
                      <a:schemeClr val="tx2"/>
                    </a:solidFill>
                    <a:latin typeface="+mj-lt"/>
                  </a:rPr>
                  <a:t>&amp; Commission </a:t>
                </a:r>
              </a:p>
              <a:p>
                <a:pPr algn="ctr" eaLnBrk="0" hangingPunct="0">
                  <a:buClr>
                    <a:srgbClr val="4F81BD"/>
                  </a:buClr>
                </a:pPr>
                <a:r>
                  <a:rPr lang="en-US" sz="600" b="1" kern="0">
                    <a:solidFill>
                      <a:schemeClr val="tx2"/>
                    </a:solidFill>
                    <a:latin typeface="+mj-lt"/>
                  </a:rPr>
                  <a:t>Management</a:t>
                </a:r>
              </a:p>
            </p:txBody>
          </p:sp>
          <p:sp>
            <p:nvSpPr>
              <p:cNvPr id="43" name="Rectangle 59">
                <a:extLst>
                  <a:ext uri="{FF2B5EF4-FFF2-40B4-BE49-F238E27FC236}">
                    <a16:creationId xmlns:a16="http://schemas.microsoft.com/office/drawing/2014/main" id="{CF5E01C7-9565-4738-902C-FE212D719725}"/>
                  </a:ext>
                </a:extLst>
              </p:cNvPr>
              <p:cNvSpPr>
                <a:spLocks noChangeArrowheads="1"/>
              </p:cNvSpPr>
              <p:nvPr/>
            </p:nvSpPr>
            <p:spPr bwMode="gray">
              <a:xfrm>
                <a:off x="3341154" y="3737130"/>
                <a:ext cx="201848" cy="193085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2  Enterprise Integration  Services Mgmt. </a:t>
                </a:r>
              </a:p>
            </p:txBody>
          </p:sp>
          <p:sp>
            <p:nvSpPr>
              <p:cNvPr id="44" name="Rectangle 59">
                <a:extLst>
                  <a:ext uri="{FF2B5EF4-FFF2-40B4-BE49-F238E27FC236}">
                    <a16:creationId xmlns:a16="http://schemas.microsoft.com/office/drawing/2014/main" id="{644D363F-8606-445C-8623-6F0F7DF5C8AE}"/>
                  </a:ext>
                </a:extLst>
              </p:cNvPr>
              <p:cNvSpPr>
                <a:spLocks noChangeArrowheads="1"/>
              </p:cNvSpPr>
              <p:nvPr/>
            </p:nvSpPr>
            <p:spPr bwMode="gray">
              <a:xfrm>
                <a:off x="3336393" y="2067877"/>
                <a:ext cx="200177" cy="162010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1  Business Process Mgmt. &amp; Orch.</a:t>
                </a:r>
              </a:p>
            </p:txBody>
          </p:sp>
        </p:grpSp>
        <p:sp>
          <p:nvSpPr>
            <p:cNvPr id="13" name="Rectangle 12">
              <a:extLst>
                <a:ext uri="{FF2B5EF4-FFF2-40B4-BE49-F238E27FC236}">
                  <a16:creationId xmlns:a16="http://schemas.microsoft.com/office/drawing/2014/main" id="{792930FE-428E-40E1-803A-33F45F3F4B60}"/>
                </a:ext>
              </a:extLst>
            </p:cNvPr>
            <p:cNvSpPr>
              <a:spLocks noChangeAspect="1"/>
            </p:cNvSpPr>
            <p:nvPr/>
          </p:nvSpPr>
          <p:spPr bwMode="auto">
            <a:xfrm>
              <a:off x="782637" y="1608160"/>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1 Channels </a:t>
              </a:r>
            </a:p>
          </p:txBody>
        </p:sp>
      </p:grpSp>
    </p:spTree>
    <p:extLst>
      <p:ext uri="{BB962C8B-B14F-4D97-AF65-F5344CB8AC3E}">
        <p14:creationId xmlns:p14="http://schemas.microsoft.com/office/powerpoint/2010/main" val="35353068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5"/>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730439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5"/>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grpSp>
        <p:nvGrpSpPr>
          <p:cNvPr id="11" name="Group 10">
            <a:extLst>
              <a:ext uri="{FF2B5EF4-FFF2-40B4-BE49-F238E27FC236}">
                <a16:creationId xmlns:a16="http://schemas.microsoft.com/office/drawing/2014/main" id="{1261D776-115C-42F2-BBF2-E30D4D9CE61E}"/>
              </a:ext>
            </a:extLst>
          </p:cNvPr>
          <p:cNvGrpSpPr/>
          <p:nvPr userDrawn="1"/>
        </p:nvGrpSpPr>
        <p:grpSpPr>
          <a:xfrm>
            <a:off x="381468" y="1380840"/>
            <a:ext cx="3751898" cy="4362208"/>
            <a:chOff x="690562" y="1380840"/>
            <a:chExt cx="3751898" cy="4362208"/>
          </a:xfrm>
        </p:grpSpPr>
        <p:grpSp>
          <p:nvGrpSpPr>
            <p:cNvPr id="12" name="Group 11">
              <a:extLst>
                <a:ext uri="{FF2B5EF4-FFF2-40B4-BE49-F238E27FC236}">
                  <a16:creationId xmlns:a16="http://schemas.microsoft.com/office/drawing/2014/main" id="{04D2986B-457B-4F2E-AA5C-7E17DD081A31}"/>
                </a:ext>
              </a:extLst>
            </p:cNvPr>
            <p:cNvGrpSpPr/>
            <p:nvPr/>
          </p:nvGrpSpPr>
          <p:grpSpPr>
            <a:xfrm>
              <a:off x="690562" y="1380840"/>
              <a:ext cx="3751898" cy="4362208"/>
              <a:chOff x="690562" y="1380840"/>
              <a:chExt cx="3751898" cy="4362208"/>
            </a:xfrm>
          </p:grpSpPr>
          <p:sp>
            <p:nvSpPr>
              <p:cNvPr id="14" name="Rectangle 13">
                <a:extLst>
                  <a:ext uri="{FF2B5EF4-FFF2-40B4-BE49-F238E27FC236}">
                    <a16:creationId xmlns:a16="http://schemas.microsoft.com/office/drawing/2014/main" id="{5577E775-6E58-4198-AAD1-28E4074CD265}"/>
                  </a:ext>
                </a:extLst>
              </p:cNvPr>
              <p:cNvSpPr>
                <a:spLocks noChangeAspect="1"/>
              </p:cNvSpPr>
              <p:nvPr/>
            </p:nvSpPr>
            <p:spPr bwMode="auto">
              <a:xfrm rot="16200000">
                <a:off x="1603300" y="3398468"/>
                <a:ext cx="4357440" cy="331710"/>
              </a:xfrm>
              <a:prstGeom prst="rect">
                <a:avLst/>
              </a:prstGeom>
              <a:solidFill>
                <a:schemeClr val="bg2"/>
              </a:solidFill>
              <a:ln w="3175" cap="flat" cmpd="sng" algn="ctr">
                <a:noFill/>
                <a:prstDash val="solid"/>
              </a:ln>
              <a:effectLst/>
            </p:spPr>
            <p:txBody>
              <a:bodyPr vert="horz" wrap="square" lIns="3708000" tIns="108000" rIns="72000" bIns="108000" rtlCol="0" anchor="ctr"/>
              <a:lstStyle/>
              <a:p>
                <a:pPr indent="-85669"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9. Information Foundation</a:t>
                </a:r>
              </a:p>
            </p:txBody>
          </p:sp>
          <p:sp>
            <p:nvSpPr>
              <p:cNvPr id="15" name="Rectangle 59">
                <a:extLst>
                  <a:ext uri="{FF2B5EF4-FFF2-40B4-BE49-F238E27FC236}">
                    <a16:creationId xmlns:a16="http://schemas.microsoft.com/office/drawing/2014/main" id="{4BED36E0-4B7D-4167-A625-077A2BD49438}"/>
                  </a:ext>
                </a:extLst>
              </p:cNvPr>
              <p:cNvSpPr>
                <a:spLocks noChangeArrowheads="1"/>
              </p:cNvSpPr>
              <p:nvPr/>
            </p:nvSpPr>
            <p:spPr bwMode="gray">
              <a:xfrm>
                <a:off x="3660682" y="2072640"/>
                <a:ext cx="242676" cy="360605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9.1 Information Foundation</a:t>
                </a:r>
              </a:p>
            </p:txBody>
          </p:sp>
          <p:sp>
            <p:nvSpPr>
              <p:cNvPr id="16" name="Rectangle 15">
                <a:extLst>
                  <a:ext uri="{FF2B5EF4-FFF2-40B4-BE49-F238E27FC236}">
                    <a16:creationId xmlns:a16="http://schemas.microsoft.com/office/drawing/2014/main" id="{D434942A-C934-4D71-ACA7-2B3B287B621C}"/>
                  </a:ext>
                </a:extLst>
              </p:cNvPr>
              <p:cNvSpPr>
                <a:spLocks noChangeAspect="1"/>
              </p:cNvSpPr>
              <p:nvPr/>
            </p:nvSpPr>
            <p:spPr bwMode="auto">
              <a:xfrm rot="16200000">
                <a:off x="1255863" y="3424386"/>
                <a:ext cx="4357443" cy="279874"/>
              </a:xfrm>
              <a:prstGeom prst="rect">
                <a:avLst/>
              </a:prstGeom>
              <a:solidFill>
                <a:schemeClr val="bg2"/>
              </a:solidFill>
              <a:ln w="3175" cap="flat" cmpd="sng" algn="ctr">
                <a:noFill/>
                <a:prstDash val="solid"/>
              </a:ln>
              <a:effectLst/>
            </p:spPr>
            <p:txBody>
              <a:bodyPr vert="horz" wrap="square" lIns="3708000" tIns="0" rIns="0" bIns="0" rtlCol="0" anchor="ctr"/>
              <a:lstStyle/>
              <a:p>
                <a:pPr marL="0" marR="0" lvl="0" indent="-85669"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8. Business Integration </a:t>
                </a:r>
              </a:p>
            </p:txBody>
          </p:sp>
          <p:grpSp>
            <p:nvGrpSpPr>
              <p:cNvPr id="21" name="Group 20">
                <a:extLst>
                  <a:ext uri="{FF2B5EF4-FFF2-40B4-BE49-F238E27FC236}">
                    <a16:creationId xmlns:a16="http://schemas.microsoft.com/office/drawing/2014/main" id="{619026B3-B279-4709-ABC5-727C32727E40}"/>
                  </a:ext>
                </a:extLst>
              </p:cNvPr>
              <p:cNvGrpSpPr/>
              <p:nvPr/>
            </p:nvGrpSpPr>
            <p:grpSpPr>
              <a:xfrm>
                <a:off x="3989518" y="1385604"/>
                <a:ext cx="452942" cy="4357444"/>
                <a:chOff x="3989518" y="1385604"/>
                <a:chExt cx="452942" cy="4357444"/>
              </a:xfrm>
            </p:grpSpPr>
            <p:sp>
              <p:nvSpPr>
                <p:cNvPr id="45" name="Rectangle 44">
                  <a:extLst>
                    <a:ext uri="{FF2B5EF4-FFF2-40B4-BE49-F238E27FC236}">
                      <a16:creationId xmlns:a16="http://schemas.microsoft.com/office/drawing/2014/main" id="{2330EE51-E36E-4375-811C-004A7A87F3C3}"/>
                    </a:ext>
                  </a:extLst>
                </p:cNvPr>
                <p:cNvSpPr>
                  <a:spLocks noChangeAspect="1"/>
                </p:cNvSpPr>
                <p:nvPr/>
              </p:nvSpPr>
              <p:spPr bwMode="auto">
                <a:xfrm rot="16200000">
                  <a:off x="2037267" y="3337855"/>
                  <a:ext cx="4357444" cy="452942"/>
                </a:xfrm>
                <a:prstGeom prst="rect">
                  <a:avLst/>
                </a:prstGeom>
                <a:solidFill>
                  <a:schemeClr val="bg2"/>
                </a:solidFill>
                <a:ln w="3175" cap="flat" cmpd="sng" algn="ctr">
                  <a:noFill/>
                  <a:prstDash val="solid"/>
                </a:ln>
                <a:effectLst/>
              </p:spPr>
              <p:txBody>
                <a:bodyPr vert="horz" wrap="square" lIns="3528000" tIns="72000" rIns="108000" bIns="72000" rtlCol="0" anchor="ctr"/>
                <a:lstStyle/>
                <a:p>
                  <a:pPr indent="-85669" algn="r" defTabSz="914135" fontAlgn="base">
                    <a:spcBef>
                      <a:spcPts val="600"/>
                    </a:spcBef>
                    <a:spcAft>
                      <a:spcPct val="0"/>
                    </a:spcAft>
                  </a:pPr>
                  <a:r>
                    <a:rPr lang="en-GB" sz="600" kern="0">
                      <a:solidFill>
                        <a:schemeClr val="tx2"/>
                      </a:solidFill>
                      <a:effectLst/>
                      <a:latin typeface="+mj-lt"/>
                      <a:cs typeface="Calibri" panose="020F0502020204030204" pitchFamily="34" charset="0"/>
                      <a:sym typeface="Arial"/>
                    </a:rPr>
                    <a:t>10. Business Insights &amp; Analytics </a:t>
                  </a:r>
                </a:p>
              </p:txBody>
            </p:sp>
            <p:sp>
              <p:nvSpPr>
                <p:cNvPr id="46" name="Rectangle 45">
                  <a:extLst>
                    <a:ext uri="{FF2B5EF4-FFF2-40B4-BE49-F238E27FC236}">
                      <a16:creationId xmlns:a16="http://schemas.microsoft.com/office/drawing/2014/main" id="{AE5AFB7A-DF4A-4183-90F2-E9B0F01803B7}"/>
                    </a:ext>
                  </a:extLst>
                </p:cNvPr>
                <p:cNvSpPr/>
                <p:nvPr/>
              </p:nvSpPr>
              <p:spPr>
                <a:xfrm>
                  <a:off x="4052005" y="4697885"/>
                  <a:ext cx="327966" cy="9808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4 Analytics Enablers</a:t>
                  </a:r>
                </a:p>
              </p:txBody>
            </p:sp>
            <p:sp>
              <p:nvSpPr>
                <p:cNvPr id="47" name="TextBox 46">
                  <a:extLst>
                    <a:ext uri="{FF2B5EF4-FFF2-40B4-BE49-F238E27FC236}">
                      <a16:creationId xmlns:a16="http://schemas.microsoft.com/office/drawing/2014/main" id="{D885FF78-3966-4C44-971A-9D56E17678C9}"/>
                    </a:ext>
                  </a:extLst>
                </p:cNvPr>
                <p:cNvSpPr txBox="1"/>
                <p:nvPr/>
              </p:nvSpPr>
              <p:spPr>
                <a:xfrm>
                  <a:off x="4053623" y="2072640"/>
                  <a:ext cx="3247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1 Marketing </a:t>
                  </a:r>
                </a:p>
                <a:p>
                  <a:pPr algn="ctr"/>
                  <a:r>
                    <a:rPr lang="en-US" sz="600">
                      <a:solidFill>
                        <a:schemeClr val="tx2"/>
                      </a:solidFill>
                      <a:latin typeface="+mj-lt"/>
                    </a:rPr>
                    <a:t>Analytics </a:t>
                  </a:r>
                </a:p>
              </p:txBody>
            </p:sp>
            <p:sp>
              <p:nvSpPr>
                <p:cNvPr id="48" name="TextBox 47">
                  <a:extLst>
                    <a:ext uri="{FF2B5EF4-FFF2-40B4-BE49-F238E27FC236}">
                      <a16:creationId xmlns:a16="http://schemas.microsoft.com/office/drawing/2014/main" id="{BB77ABDD-4682-47E3-A7F3-67B352D7836F}"/>
                    </a:ext>
                  </a:extLst>
                </p:cNvPr>
                <p:cNvSpPr txBox="1">
                  <a:spLocks/>
                </p:cNvSpPr>
                <p:nvPr/>
              </p:nvSpPr>
              <p:spPr>
                <a:xfrm>
                  <a:off x="4053623" y="2905636"/>
                  <a:ext cx="324730" cy="87111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defPPr>
                    <a:defRPr lang="en-US"/>
                  </a:defPPr>
                  <a:lvl1pPr eaLnBrk="0" hangingPunct="0">
                    <a:buClr>
                      <a:srgbClr val="4F81BD"/>
                    </a:buClr>
                    <a:defRPr sz="800" b="1" kern="0">
                      <a:solidFill>
                        <a:srgbClr val="000000"/>
                      </a:solidFill>
                      <a:latin typeface="Graphik"/>
                    </a:defRPr>
                  </a:lvl1pPr>
                </a:lstStyle>
                <a:p>
                  <a:pPr algn="ctr"/>
                  <a:r>
                    <a:rPr lang="en-US" sz="600">
                      <a:solidFill>
                        <a:schemeClr val="tx2"/>
                      </a:solidFill>
                      <a:latin typeface="+mj-lt"/>
                    </a:rPr>
                    <a:t>10.2  Underwriting</a:t>
                  </a:r>
                </a:p>
                <a:p>
                  <a:pPr algn="ctr"/>
                  <a:r>
                    <a:rPr lang="en-US" sz="600">
                      <a:solidFill>
                        <a:schemeClr val="tx2"/>
                      </a:solidFill>
                      <a:latin typeface="+mj-lt"/>
                    </a:rPr>
                    <a:t>&amp; Product Analytics</a:t>
                  </a:r>
                </a:p>
              </p:txBody>
            </p:sp>
            <p:sp>
              <p:nvSpPr>
                <p:cNvPr id="49" name="AutoShape 48">
                  <a:extLst>
                    <a:ext uri="{FF2B5EF4-FFF2-40B4-BE49-F238E27FC236}">
                      <a16:creationId xmlns:a16="http://schemas.microsoft.com/office/drawing/2014/main" id="{1130E8B8-7619-4F8B-ACFA-D04BABB84FA7}"/>
                    </a:ext>
                  </a:extLst>
                </p:cNvPr>
                <p:cNvSpPr>
                  <a:spLocks noChangeArrowheads="1"/>
                </p:cNvSpPr>
                <p:nvPr/>
              </p:nvSpPr>
              <p:spPr bwMode="gray">
                <a:xfrm>
                  <a:off x="4052773" y="3864890"/>
                  <a:ext cx="326430" cy="74485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10.3 Operations</a:t>
                  </a:r>
                </a:p>
                <a:p>
                  <a:pPr algn="ctr" eaLnBrk="0" hangingPunct="0">
                    <a:buClr>
                      <a:srgbClr val="4F81BD"/>
                    </a:buClr>
                  </a:pPr>
                  <a:r>
                    <a:rPr lang="en-US" sz="600" b="1" kern="0">
                      <a:solidFill>
                        <a:schemeClr val="tx2"/>
                      </a:solidFill>
                      <a:latin typeface="+mj-lt"/>
                    </a:rPr>
                    <a:t>Analytics</a:t>
                  </a:r>
                </a:p>
              </p:txBody>
            </p:sp>
          </p:grpSp>
          <p:sp>
            <p:nvSpPr>
              <p:cNvPr id="22" name="Rectangle 21">
                <a:extLst>
                  <a:ext uri="{FF2B5EF4-FFF2-40B4-BE49-F238E27FC236}">
                    <a16:creationId xmlns:a16="http://schemas.microsoft.com/office/drawing/2014/main" id="{B55C0ACC-A7A3-4E3A-A311-B9F6B1624C7F}"/>
                  </a:ext>
                </a:extLst>
              </p:cNvPr>
              <p:cNvSpPr>
                <a:spLocks noChangeAspect="1"/>
              </p:cNvSpPr>
              <p:nvPr/>
            </p:nvSpPr>
            <p:spPr bwMode="auto">
              <a:xfrm>
                <a:off x="696105" y="5125635"/>
                <a:ext cx="2553387" cy="617413"/>
              </a:xfrm>
              <a:prstGeom prst="rect">
                <a:avLst/>
              </a:prstGeom>
              <a:solidFill>
                <a:schemeClr val="bg2"/>
              </a:solidFill>
              <a:ln w="3175" cap="flat" cmpd="sng" algn="ctr">
                <a:noFill/>
                <a:prstDash val="solid"/>
              </a:ln>
              <a:effectLst/>
            </p:spPr>
            <p:txBody>
              <a:bodyPr wrap="square" lIns="108000" tIns="108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7. Enterprise Functions</a:t>
                </a:r>
              </a:p>
            </p:txBody>
          </p:sp>
          <p:sp>
            <p:nvSpPr>
              <p:cNvPr id="23" name="Rectangle 43">
                <a:extLst>
                  <a:ext uri="{FF2B5EF4-FFF2-40B4-BE49-F238E27FC236}">
                    <a16:creationId xmlns:a16="http://schemas.microsoft.com/office/drawing/2014/main" id="{6E273D97-D546-493F-B9DC-86DDA3EE494E}"/>
                  </a:ext>
                </a:extLst>
              </p:cNvPr>
              <p:cNvSpPr>
                <a:spLocks noChangeArrowheads="1"/>
              </p:cNvSpPr>
              <p:nvPr/>
            </p:nvSpPr>
            <p:spPr bwMode="auto">
              <a:xfrm>
                <a:off x="787401" y="5364024"/>
                <a:ext cx="2417856" cy="303962"/>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7.1 Corporate Functions</a:t>
                </a:r>
              </a:p>
            </p:txBody>
          </p:sp>
          <p:sp>
            <p:nvSpPr>
              <p:cNvPr id="24" name="Rectangle 23">
                <a:extLst>
                  <a:ext uri="{FF2B5EF4-FFF2-40B4-BE49-F238E27FC236}">
                    <a16:creationId xmlns:a16="http://schemas.microsoft.com/office/drawing/2014/main" id="{AEDA1784-2FE8-49AF-91D7-4B9B40B82023}"/>
                  </a:ext>
                </a:extLst>
              </p:cNvPr>
              <p:cNvSpPr>
                <a:spLocks noChangeAspect="1"/>
              </p:cNvSpPr>
              <p:nvPr/>
            </p:nvSpPr>
            <p:spPr bwMode="auto">
              <a:xfrm>
                <a:off x="690563" y="1380840"/>
                <a:ext cx="2557678" cy="1206571"/>
              </a:xfrm>
              <a:prstGeom prst="rect">
                <a:avLst/>
              </a:prstGeom>
              <a:solidFill>
                <a:schemeClr val="bg2"/>
              </a:solidFill>
              <a:ln w="3175" cap="flat" cmpd="sng" algn="ctr">
                <a:noFill/>
                <a:prstDash val="solid"/>
              </a:ln>
              <a:effectLst/>
            </p:spPr>
            <p:txBody>
              <a:bodyPr vert="horz" wrap="square" lIns="108000" tIns="72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r>
                  <a:rPr kumimoji="0" lang="en-GB" sz="600" b="0" i="0" u="none" kern="0" cap="none" baseline="0" noProof="0">
                    <a:ln>
                      <a:noFill/>
                    </a:ln>
                    <a:solidFill>
                      <a:schemeClr val="tx2"/>
                    </a:solidFill>
                    <a:effectLst/>
                    <a:uLnTx/>
                    <a:uFillTx/>
                    <a:latin typeface="+mj-lt"/>
                    <a:ea typeface="+mn-ea"/>
                    <a:cs typeface="Calibri" panose="020F0502020204030204" pitchFamily="34" charset="0"/>
                    <a:sym typeface="Arial"/>
                  </a:rPr>
                  <a:t>1. Channel Mgmt.</a:t>
                </a:r>
              </a:p>
            </p:txBody>
          </p:sp>
          <p:sp>
            <p:nvSpPr>
              <p:cNvPr id="25" name="Rectangle 24">
                <a:extLst>
                  <a:ext uri="{FF2B5EF4-FFF2-40B4-BE49-F238E27FC236}">
                    <a16:creationId xmlns:a16="http://schemas.microsoft.com/office/drawing/2014/main" id="{D942D6A9-5782-4DD7-8E79-E678BB4470BB}"/>
                  </a:ext>
                </a:extLst>
              </p:cNvPr>
              <p:cNvSpPr>
                <a:spLocks noChangeAspect="1"/>
              </p:cNvSpPr>
              <p:nvPr/>
            </p:nvSpPr>
            <p:spPr bwMode="auto">
              <a:xfrm>
                <a:off x="696106" y="3615896"/>
                <a:ext cx="2553386" cy="1434677"/>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6. Product &amp; Operations</a:t>
                </a:r>
              </a:p>
            </p:txBody>
          </p:sp>
          <p:sp>
            <p:nvSpPr>
              <p:cNvPr id="26" name="Rectangle 25">
                <a:extLst>
                  <a:ext uri="{FF2B5EF4-FFF2-40B4-BE49-F238E27FC236}">
                    <a16:creationId xmlns:a16="http://schemas.microsoft.com/office/drawing/2014/main" id="{690144A8-32BC-44EB-897E-E09BF2941081}"/>
                  </a:ext>
                </a:extLst>
              </p:cNvPr>
              <p:cNvSpPr/>
              <p:nvPr/>
            </p:nvSpPr>
            <p:spPr bwMode="auto">
              <a:xfrm>
                <a:off x="787400" y="3835400"/>
                <a:ext cx="2423069" cy="35001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1 </a:t>
                </a:r>
              </a:p>
              <a:p>
                <a:pPr algn="ctr" eaLnBrk="0" hangingPunct="0">
                  <a:buClr>
                    <a:srgbClr val="4F81BD"/>
                  </a:buClr>
                </a:pPr>
                <a:r>
                  <a:rPr lang="en-US" sz="600" b="1" kern="0">
                    <a:solidFill>
                      <a:schemeClr val="tx2"/>
                    </a:solidFill>
                    <a:latin typeface="+mj-lt"/>
                  </a:rPr>
                  <a:t>Cross Capability</a:t>
                </a:r>
              </a:p>
            </p:txBody>
          </p:sp>
          <p:sp>
            <p:nvSpPr>
              <p:cNvPr id="27" name="Rectangle 26">
                <a:extLst>
                  <a:ext uri="{FF2B5EF4-FFF2-40B4-BE49-F238E27FC236}">
                    <a16:creationId xmlns:a16="http://schemas.microsoft.com/office/drawing/2014/main" id="{485F5088-4002-4E5F-AAC3-1520DC4F1D2F}"/>
                  </a:ext>
                </a:extLst>
              </p:cNvPr>
              <p:cNvSpPr/>
              <p:nvPr/>
            </p:nvSpPr>
            <p:spPr bwMode="auto">
              <a:xfrm>
                <a:off x="1197589" y="4247352"/>
                <a:ext cx="45334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3 </a:t>
                </a:r>
              </a:p>
              <a:p>
                <a:pPr algn="ctr" eaLnBrk="0" hangingPunct="0">
                  <a:buClr>
                    <a:srgbClr val="4F81BD"/>
                  </a:buClr>
                </a:pPr>
                <a:r>
                  <a:rPr lang="en-US" sz="600" b="1" kern="0">
                    <a:solidFill>
                      <a:schemeClr val="tx2"/>
                    </a:solidFill>
                    <a:latin typeface="+mj-lt"/>
                  </a:rPr>
                  <a:t>Life </a:t>
                </a:r>
              </a:p>
              <a:p>
                <a:pPr algn="ctr" eaLnBrk="0" hangingPunct="0">
                  <a:buClr>
                    <a:srgbClr val="4F81BD"/>
                  </a:buClr>
                </a:pPr>
                <a:r>
                  <a:rPr lang="en-US" sz="600" b="1" kern="0">
                    <a:solidFill>
                      <a:schemeClr val="tx2"/>
                    </a:solidFill>
                    <a:latin typeface="+mj-lt"/>
                  </a:rPr>
                  <a:t>Insurance</a:t>
                </a:r>
              </a:p>
            </p:txBody>
          </p:sp>
          <p:sp>
            <p:nvSpPr>
              <p:cNvPr id="28" name="Rectangle 27">
                <a:extLst>
                  <a:ext uri="{FF2B5EF4-FFF2-40B4-BE49-F238E27FC236}">
                    <a16:creationId xmlns:a16="http://schemas.microsoft.com/office/drawing/2014/main" id="{D93DE748-7861-4777-A6A9-E7551A5AC018}"/>
                  </a:ext>
                </a:extLst>
              </p:cNvPr>
              <p:cNvSpPr/>
              <p:nvPr/>
            </p:nvSpPr>
            <p:spPr bwMode="auto">
              <a:xfrm>
                <a:off x="1684398" y="4247352"/>
                <a:ext cx="372607"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4 </a:t>
                </a:r>
              </a:p>
              <a:p>
                <a:pPr algn="ctr" eaLnBrk="0" hangingPunct="0">
                  <a:buClr>
                    <a:srgbClr val="4F81BD"/>
                  </a:buClr>
                </a:pPr>
                <a:r>
                  <a:rPr lang="en-US" sz="600" b="1" kern="0">
                    <a:solidFill>
                      <a:schemeClr val="tx2"/>
                    </a:solidFill>
                    <a:latin typeface="+mj-lt"/>
                  </a:rPr>
                  <a:t>Annuity</a:t>
                </a:r>
              </a:p>
            </p:txBody>
          </p:sp>
          <p:sp>
            <p:nvSpPr>
              <p:cNvPr id="29" name="Rectangle 28">
                <a:extLst>
                  <a:ext uri="{FF2B5EF4-FFF2-40B4-BE49-F238E27FC236}">
                    <a16:creationId xmlns:a16="http://schemas.microsoft.com/office/drawing/2014/main" id="{5DE4D491-FE0E-4A61-A9A5-47F05E5437BF}"/>
                  </a:ext>
                </a:extLst>
              </p:cNvPr>
              <p:cNvSpPr/>
              <p:nvPr/>
            </p:nvSpPr>
            <p:spPr bwMode="auto">
              <a:xfrm>
                <a:off x="2090467" y="4247355"/>
                <a:ext cx="474172"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5 </a:t>
                </a:r>
              </a:p>
              <a:p>
                <a:pPr algn="ctr" eaLnBrk="0" hangingPunct="0">
                  <a:buClr>
                    <a:srgbClr val="4F81BD"/>
                  </a:buClr>
                </a:pPr>
                <a:r>
                  <a:rPr lang="en-US" sz="600" b="1" kern="0">
                    <a:solidFill>
                      <a:schemeClr val="tx2"/>
                    </a:solidFill>
                    <a:latin typeface="+mj-lt"/>
                  </a:rPr>
                  <a:t>Group </a:t>
                </a:r>
              </a:p>
              <a:p>
                <a:pPr algn="ctr" eaLnBrk="0" hangingPunct="0">
                  <a:buClr>
                    <a:srgbClr val="4F81BD"/>
                  </a:buClr>
                </a:pPr>
                <a:r>
                  <a:rPr lang="en-US" sz="600" b="1" kern="0">
                    <a:solidFill>
                      <a:schemeClr val="tx2"/>
                    </a:solidFill>
                    <a:latin typeface="+mj-lt"/>
                  </a:rPr>
                  <a:t>Insurance</a:t>
                </a:r>
              </a:p>
            </p:txBody>
          </p:sp>
          <p:sp>
            <p:nvSpPr>
              <p:cNvPr id="30" name="Rectangle 29">
                <a:extLst>
                  <a:ext uri="{FF2B5EF4-FFF2-40B4-BE49-F238E27FC236}">
                    <a16:creationId xmlns:a16="http://schemas.microsoft.com/office/drawing/2014/main" id="{7DD4E80D-0211-43C3-8D8F-B4F64643E7ED}"/>
                  </a:ext>
                </a:extLst>
              </p:cNvPr>
              <p:cNvSpPr/>
              <p:nvPr/>
            </p:nvSpPr>
            <p:spPr bwMode="auto">
              <a:xfrm>
                <a:off x="2598101" y="4247355"/>
                <a:ext cx="612368" cy="736784"/>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6 </a:t>
                </a:r>
              </a:p>
              <a:p>
                <a:pPr algn="ctr" eaLnBrk="0" hangingPunct="0">
                  <a:buClr>
                    <a:srgbClr val="4F81BD"/>
                  </a:buClr>
                </a:pPr>
                <a:r>
                  <a:rPr lang="en-US" sz="600" b="1" kern="0">
                    <a:solidFill>
                      <a:schemeClr val="tx2"/>
                    </a:solidFill>
                    <a:latin typeface="+mj-lt"/>
                  </a:rPr>
                  <a:t>Retirements</a:t>
                </a:r>
              </a:p>
            </p:txBody>
          </p:sp>
          <p:sp>
            <p:nvSpPr>
              <p:cNvPr id="31" name="Rectangle 30">
                <a:extLst>
                  <a:ext uri="{FF2B5EF4-FFF2-40B4-BE49-F238E27FC236}">
                    <a16:creationId xmlns:a16="http://schemas.microsoft.com/office/drawing/2014/main" id="{D19826F5-D651-4F5D-ACC7-B9DF8177B0D9}"/>
                  </a:ext>
                </a:extLst>
              </p:cNvPr>
              <p:cNvSpPr/>
              <p:nvPr/>
            </p:nvSpPr>
            <p:spPr bwMode="auto">
              <a:xfrm>
                <a:off x="787400" y="4247352"/>
                <a:ext cx="376726" cy="73678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6.2 </a:t>
                </a:r>
              </a:p>
              <a:p>
                <a:pPr algn="ctr" eaLnBrk="0" hangingPunct="0">
                  <a:buClr>
                    <a:srgbClr val="4F81BD"/>
                  </a:buClr>
                </a:pPr>
                <a:r>
                  <a:rPr lang="en-US" sz="600" b="1" kern="0">
                    <a:solidFill>
                      <a:schemeClr val="tx2"/>
                    </a:solidFill>
                    <a:latin typeface="+mj-lt"/>
                  </a:rPr>
                  <a:t>Product </a:t>
                </a:r>
              </a:p>
              <a:p>
                <a:pPr algn="ctr" eaLnBrk="0" hangingPunct="0">
                  <a:buClr>
                    <a:srgbClr val="4F81BD"/>
                  </a:buClr>
                </a:pPr>
                <a:r>
                  <a:rPr lang="en-US" sz="600" b="1" kern="0">
                    <a:solidFill>
                      <a:schemeClr val="tx2"/>
                    </a:solidFill>
                    <a:latin typeface="+mj-lt"/>
                  </a:rPr>
                  <a:t>Mgmt.</a:t>
                </a:r>
              </a:p>
            </p:txBody>
          </p:sp>
          <p:sp>
            <p:nvSpPr>
              <p:cNvPr id="32" name="Rectangle 31">
                <a:extLst>
                  <a:ext uri="{FF2B5EF4-FFF2-40B4-BE49-F238E27FC236}">
                    <a16:creationId xmlns:a16="http://schemas.microsoft.com/office/drawing/2014/main" id="{2682298A-5C9C-4DF2-99E5-89D21E66F564}"/>
                  </a:ext>
                </a:extLst>
              </p:cNvPr>
              <p:cNvSpPr>
                <a:spLocks/>
              </p:cNvSpPr>
              <p:nvPr/>
            </p:nvSpPr>
            <p:spPr bwMode="auto">
              <a:xfrm>
                <a:off x="782637" y="1932182"/>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2 Engagement Mediums</a:t>
                </a:r>
              </a:p>
            </p:txBody>
          </p:sp>
          <p:sp>
            <p:nvSpPr>
              <p:cNvPr id="33" name="Rectangle 32">
                <a:extLst>
                  <a:ext uri="{FF2B5EF4-FFF2-40B4-BE49-F238E27FC236}">
                    <a16:creationId xmlns:a16="http://schemas.microsoft.com/office/drawing/2014/main" id="{D933629E-D92E-493A-91D5-6E22DDF70EC3}"/>
                  </a:ext>
                </a:extLst>
              </p:cNvPr>
              <p:cNvSpPr>
                <a:spLocks/>
              </p:cNvSpPr>
              <p:nvPr/>
            </p:nvSpPr>
            <p:spPr bwMode="auto">
              <a:xfrm>
                <a:off x="782637" y="2250361"/>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3 Customer Experience Management</a:t>
                </a:r>
              </a:p>
            </p:txBody>
          </p:sp>
          <p:sp>
            <p:nvSpPr>
              <p:cNvPr id="34" name="Rectangle 33">
                <a:extLst>
                  <a:ext uri="{FF2B5EF4-FFF2-40B4-BE49-F238E27FC236}">
                    <a16:creationId xmlns:a16="http://schemas.microsoft.com/office/drawing/2014/main" id="{5CEB7326-E4CD-4C3D-90F9-C2D88297863E}"/>
                  </a:ext>
                </a:extLst>
              </p:cNvPr>
              <p:cNvSpPr>
                <a:spLocks noChangeAspect="1"/>
              </p:cNvSpPr>
              <p:nvPr/>
            </p:nvSpPr>
            <p:spPr bwMode="auto">
              <a:xfrm>
                <a:off x="690562" y="2640135"/>
                <a:ext cx="755649"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2. Distribution Mgmt.</a:t>
                </a:r>
              </a:p>
            </p:txBody>
          </p:sp>
          <p:sp>
            <p:nvSpPr>
              <p:cNvPr id="35" name="Rectangle 34">
                <a:extLst>
                  <a:ext uri="{FF2B5EF4-FFF2-40B4-BE49-F238E27FC236}">
                    <a16:creationId xmlns:a16="http://schemas.microsoft.com/office/drawing/2014/main" id="{D30B66EF-4FE3-46AA-9EED-58AD9105503B}"/>
                  </a:ext>
                </a:extLst>
              </p:cNvPr>
              <p:cNvSpPr>
                <a:spLocks noChangeAspect="1"/>
              </p:cNvSpPr>
              <p:nvPr/>
            </p:nvSpPr>
            <p:spPr bwMode="auto">
              <a:xfrm>
                <a:off x="1494463" y="2640135"/>
                <a:ext cx="753780" cy="910436"/>
              </a:xfrm>
              <a:prstGeom prst="rect">
                <a:avLst/>
              </a:prstGeom>
              <a:solidFill>
                <a:schemeClr val="bg2"/>
              </a:solidFill>
              <a:ln w="3175" cap="flat" cmpd="sng" algn="ctr">
                <a:noFill/>
                <a:prstDash val="solid"/>
              </a:ln>
              <a:effectLst/>
            </p:spPr>
            <p:txBody>
              <a:bodyPr wrap="square" lIns="108000" tIns="72000" rIns="108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3. Marketing Mgmt.</a:t>
                </a:r>
              </a:p>
            </p:txBody>
          </p:sp>
          <p:sp>
            <p:nvSpPr>
              <p:cNvPr id="36" name="Rectangle 35">
                <a:extLst>
                  <a:ext uri="{FF2B5EF4-FFF2-40B4-BE49-F238E27FC236}">
                    <a16:creationId xmlns:a16="http://schemas.microsoft.com/office/drawing/2014/main" id="{4322BBB7-9E28-44B2-BC7F-32DB3C9BF908}"/>
                  </a:ext>
                </a:extLst>
              </p:cNvPr>
              <p:cNvSpPr>
                <a:spLocks/>
              </p:cNvSpPr>
              <p:nvPr/>
            </p:nvSpPr>
            <p:spPr bwMode="auto">
              <a:xfrm>
                <a:off x="1554552" y="3248826"/>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2 </a:t>
                </a:r>
              </a:p>
              <a:p>
                <a:pPr algn="ctr" eaLnBrk="0" hangingPunct="0">
                  <a:buClr>
                    <a:srgbClr val="4F81BD"/>
                  </a:buClr>
                </a:pPr>
                <a:r>
                  <a:rPr lang="en-US" sz="600" b="1" kern="0">
                    <a:solidFill>
                      <a:schemeClr val="tx2"/>
                    </a:solidFill>
                    <a:latin typeface="+mj-lt"/>
                  </a:rPr>
                  <a:t>Marketing</a:t>
                </a:r>
              </a:p>
            </p:txBody>
          </p:sp>
          <p:sp>
            <p:nvSpPr>
              <p:cNvPr id="37" name="Rectangle 36">
                <a:extLst>
                  <a:ext uri="{FF2B5EF4-FFF2-40B4-BE49-F238E27FC236}">
                    <a16:creationId xmlns:a16="http://schemas.microsoft.com/office/drawing/2014/main" id="{91146A78-A2C6-4275-B6FB-A32B003A4467}"/>
                  </a:ext>
                </a:extLst>
              </p:cNvPr>
              <p:cNvSpPr/>
              <p:nvPr/>
            </p:nvSpPr>
            <p:spPr bwMode="auto">
              <a:xfrm>
                <a:off x="1554552" y="2938090"/>
                <a:ext cx="633602" cy="24930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3.1 Digital Marketing</a:t>
                </a:r>
              </a:p>
            </p:txBody>
          </p:sp>
          <p:sp>
            <p:nvSpPr>
              <p:cNvPr id="38" name="Rectangle 37">
                <a:extLst>
                  <a:ext uri="{FF2B5EF4-FFF2-40B4-BE49-F238E27FC236}">
                    <a16:creationId xmlns:a16="http://schemas.microsoft.com/office/drawing/2014/main" id="{22AC28BF-F1ED-478C-8C6D-F2325149EFBD}"/>
                  </a:ext>
                </a:extLst>
              </p:cNvPr>
              <p:cNvSpPr>
                <a:spLocks noChangeAspect="1"/>
              </p:cNvSpPr>
              <p:nvPr/>
            </p:nvSpPr>
            <p:spPr bwMode="auto">
              <a:xfrm>
                <a:off x="2296495" y="2640134"/>
                <a:ext cx="422266" cy="907297"/>
              </a:xfrm>
              <a:prstGeom prst="rect">
                <a:avLst/>
              </a:prstGeom>
              <a:solidFill>
                <a:schemeClr val="bg2"/>
              </a:solidFill>
              <a:ln w="3175" cap="flat" cmpd="sng" algn="ctr">
                <a:noFill/>
                <a:prstDash val="solid"/>
              </a:ln>
              <a:effectLst/>
            </p:spPr>
            <p:txBody>
              <a:bodyPr wrap="square" lIns="72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4. Sales Mgmt.</a:t>
                </a:r>
              </a:p>
            </p:txBody>
          </p:sp>
          <p:sp>
            <p:nvSpPr>
              <p:cNvPr id="39" name="Rectangle 38">
                <a:extLst>
                  <a:ext uri="{FF2B5EF4-FFF2-40B4-BE49-F238E27FC236}">
                    <a16:creationId xmlns:a16="http://schemas.microsoft.com/office/drawing/2014/main" id="{4570010F-3897-4966-8700-65D7AACC1E9E}"/>
                  </a:ext>
                </a:extLst>
              </p:cNvPr>
              <p:cNvSpPr/>
              <p:nvPr/>
            </p:nvSpPr>
            <p:spPr bwMode="auto">
              <a:xfrm>
                <a:off x="2369196" y="2938508"/>
                <a:ext cx="276864" cy="55962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4.4 </a:t>
                </a:r>
              </a:p>
              <a:p>
                <a:pPr algn="ctr" eaLnBrk="0" hangingPunct="0">
                  <a:buClr>
                    <a:srgbClr val="4F81BD"/>
                  </a:buClr>
                </a:pPr>
                <a:r>
                  <a:rPr lang="en-US" sz="600" b="1" kern="0">
                    <a:solidFill>
                      <a:schemeClr val="tx2"/>
                    </a:solidFill>
                    <a:latin typeface="+mj-lt"/>
                  </a:rPr>
                  <a:t>Sales</a:t>
                </a:r>
              </a:p>
            </p:txBody>
          </p:sp>
          <p:sp>
            <p:nvSpPr>
              <p:cNvPr id="40" name="Rectangle 39">
                <a:extLst>
                  <a:ext uri="{FF2B5EF4-FFF2-40B4-BE49-F238E27FC236}">
                    <a16:creationId xmlns:a16="http://schemas.microsoft.com/office/drawing/2014/main" id="{FB09A796-0754-4810-8D65-62EF3A97EECA}"/>
                  </a:ext>
                </a:extLst>
              </p:cNvPr>
              <p:cNvSpPr>
                <a:spLocks noChangeAspect="1"/>
              </p:cNvSpPr>
              <p:nvPr/>
            </p:nvSpPr>
            <p:spPr bwMode="auto">
              <a:xfrm>
                <a:off x="2767012" y="2640134"/>
                <a:ext cx="477718" cy="914292"/>
              </a:xfrm>
              <a:prstGeom prst="rect">
                <a:avLst/>
              </a:prstGeom>
              <a:solidFill>
                <a:schemeClr val="bg2"/>
              </a:solidFill>
              <a:ln w="3175" cap="flat" cmpd="sng" algn="ctr">
                <a:noFill/>
                <a:prstDash val="solid"/>
              </a:ln>
              <a:effectLst/>
            </p:spPr>
            <p:txBody>
              <a:bodyPr wrap="square" lIns="36000" tIns="36000" rIns="36000" bIns="108000" rtlCol="0" anchor="t"/>
              <a:lstStyle/>
              <a:p>
                <a:pPr indent="-85669" defTabSz="914135" fontAlgn="base">
                  <a:spcBef>
                    <a:spcPts val="600"/>
                  </a:spcBef>
                  <a:spcAft>
                    <a:spcPct val="0"/>
                  </a:spcAft>
                </a:pPr>
                <a:r>
                  <a:rPr lang="en-GB" sz="600" kern="0">
                    <a:solidFill>
                      <a:schemeClr val="tx2"/>
                    </a:solidFill>
                    <a:latin typeface="+mj-lt"/>
                    <a:cs typeface="Calibri" panose="020F0502020204030204" pitchFamily="34" charset="0"/>
                    <a:sym typeface="Arial"/>
                  </a:rPr>
                  <a:t>5. Service Mgmt.</a:t>
                </a:r>
              </a:p>
            </p:txBody>
          </p:sp>
          <p:sp>
            <p:nvSpPr>
              <p:cNvPr id="41" name="Rectangle 40">
                <a:extLst>
                  <a:ext uri="{FF2B5EF4-FFF2-40B4-BE49-F238E27FC236}">
                    <a16:creationId xmlns:a16="http://schemas.microsoft.com/office/drawing/2014/main" id="{A8C3AAC0-FAD7-4F56-959E-77CCFCA3675A}"/>
                  </a:ext>
                </a:extLst>
              </p:cNvPr>
              <p:cNvSpPr>
                <a:spLocks/>
              </p:cNvSpPr>
              <p:nvPr/>
            </p:nvSpPr>
            <p:spPr bwMode="auto">
              <a:xfrm>
                <a:off x="2811249" y="2924806"/>
                <a:ext cx="389244" cy="573328"/>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5.2 </a:t>
                </a:r>
              </a:p>
              <a:p>
                <a:pPr algn="ctr" eaLnBrk="0" hangingPunct="0">
                  <a:buClr>
                    <a:srgbClr val="4F81BD"/>
                  </a:buClr>
                </a:pPr>
                <a:r>
                  <a:rPr lang="en-US" sz="600" b="1" kern="0">
                    <a:solidFill>
                      <a:schemeClr val="tx2"/>
                    </a:solidFill>
                    <a:latin typeface="+mj-lt"/>
                  </a:rPr>
                  <a:t>Service</a:t>
                </a:r>
              </a:p>
            </p:txBody>
          </p:sp>
          <p:sp>
            <p:nvSpPr>
              <p:cNvPr id="42" name="Rectangle 41">
                <a:extLst>
                  <a:ext uri="{FF2B5EF4-FFF2-40B4-BE49-F238E27FC236}">
                    <a16:creationId xmlns:a16="http://schemas.microsoft.com/office/drawing/2014/main" id="{A2257180-F00F-438E-8956-DE7F69B286D4}"/>
                  </a:ext>
                </a:extLst>
              </p:cNvPr>
              <p:cNvSpPr/>
              <p:nvPr/>
            </p:nvSpPr>
            <p:spPr bwMode="auto">
              <a:xfrm>
                <a:off x="782637" y="2938506"/>
                <a:ext cx="607035" cy="559631"/>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non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2.1 </a:t>
                </a:r>
              </a:p>
              <a:p>
                <a:pPr algn="ctr" eaLnBrk="0" hangingPunct="0">
                  <a:buClr>
                    <a:srgbClr val="4F81BD"/>
                  </a:buClr>
                </a:pPr>
                <a:r>
                  <a:rPr lang="en-US" sz="600" b="1" kern="0">
                    <a:solidFill>
                      <a:schemeClr val="tx2"/>
                    </a:solidFill>
                    <a:latin typeface="+mj-lt"/>
                  </a:rPr>
                  <a:t>Distribution </a:t>
                </a:r>
              </a:p>
              <a:p>
                <a:pPr algn="ctr" eaLnBrk="0" hangingPunct="0">
                  <a:buClr>
                    <a:srgbClr val="4F81BD"/>
                  </a:buClr>
                </a:pPr>
                <a:r>
                  <a:rPr lang="en-US" sz="600" b="1" kern="0">
                    <a:solidFill>
                      <a:schemeClr val="tx2"/>
                    </a:solidFill>
                    <a:latin typeface="+mj-lt"/>
                  </a:rPr>
                  <a:t>&amp; Commission </a:t>
                </a:r>
              </a:p>
              <a:p>
                <a:pPr algn="ctr" eaLnBrk="0" hangingPunct="0">
                  <a:buClr>
                    <a:srgbClr val="4F81BD"/>
                  </a:buClr>
                </a:pPr>
                <a:r>
                  <a:rPr lang="en-US" sz="600" b="1" kern="0">
                    <a:solidFill>
                      <a:schemeClr val="tx2"/>
                    </a:solidFill>
                    <a:latin typeface="+mj-lt"/>
                  </a:rPr>
                  <a:t>Management</a:t>
                </a:r>
              </a:p>
            </p:txBody>
          </p:sp>
          <p:sp>
            <p:nvSpPr>
              <p:cNvPr id="43" name="Rectangle 59">
                <a:extLst>
                  <a:ext uri="{FF2B5EF4-FFF2-40B4-BE49-F238E27FC236}">
                    <a16:creationId xmlns:a16="http://schemas.microsoft.com/office/drawing/2014/main" id="{84B0901C-92C1-4D7D-922E-FFA55A0874B1}"/>
                  </a:ext>
                </a:extLst>
              </p:cNvPr>
              <p:cNvSpPr>
                <a:spLocks noChangeArrowheads="1"/>
              </p:cNvSpPr>
              <p:nvPr/>
            </p:nvSpPr>
            <p:spPr bwMode="gray">
              <a:xfrm>
                <a:off x="3341154" y="3737130"/>
                <a:ext cx="201848" cy="1930856"/>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2  Enterprise Integration  Services Mgmt. </a:t>
                </a:r>
              </a:p>
            </p:txBody>
          </p:sp>
          <p:sp>
            <p:nvSpPr>
              <p:cNvPr id="44" name="Rectangle 59">
                <a:extLst>
                  <a:ext uri="{FF2B5EF4-FFF2-40B4-BE49-F238E27FC236}">
                    <a16:creationId xmlns:a16="http://schemas.microsoft.com/office/drawing/2014/main" id="{9F89D1F6-9BCA-47EB-B077-A2848B08E21F}"/>
                  </a:ext>
                </a:extLst>
              </p:cNvPr>
              <p:cNvSpPr>
                <a:spLocks noChangeArrowheads="1"/>
              </p:cNvSpPr>
              <p:nvPr/>
            </p:nvSpPr>
            <p:spPr bwMode="gray">
              <a:xfrm>
                <a:off x="3336393" y="2067877"/>
                <a:ext cx="200177" cy="1620103"/>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vert270" wrap="square" lIns="72000" tIns="36000" rIns="72000" bIns="36000" numCol="1" rtlCol="0" anchor="ctr" anchorCtr="0" compatLnSpc="1">
                <a:prstTxWarp prst="textNoShape">
                  <a:avLst/>
                </a:prstTxWarp>
                <a:noAutofit/>
              </a:bodyPr>
              <a:lstStyle/>
              <a:p>
                <a:pPr algn="ctr" eaLnBrk="0" hangingPunct="0">
                  <a:buClr>
                    <a:srgbClr val="4F81BD"/>
                  </a:buClr>
                </a:pPr>
                <a:r>
                  <a:rPr lang="en-US" sz="600" b="1" kern="0">
                    <a:solidFill>
                      <a:schemeClr val="tx2"/>
                    </a:solidFill>
                    <a:latin typeface="+mj-lt"/>
                  </a:rPr>
                  <a:t>8.1  Business Process Mgmt. &amp; Orch.</a:t>
                </a:r>
              </a:p>
            </p:txBody>
          </p:sp>
        </p:grpSp>
        <p:sp>
          <p:nvSpPr>
            <p:cNvPr id="13" name="Rectangle 12">
              <a:extLst>
                <a:ext uri="{FF2B5EF4-FFF2-40B4-BE49-F238E27FC236}">
                  <a16:creationId xmlns:a16="http://schemas.microsoft.com/office/drawing/2014/main" id="{B7391AFD-32D1-4AC7-92F9-E828A5DBF7F2}"/>
                </a:ext>
              </a:extLst>
            </p:cNvPr>
            <p:cNvSpPr>
              <a:spLocks noChangeAspect="1"/>
            </p:cNvSpPr>
            <p:nvPr/>
          </p:nvSpPr>
          <p:spPr bwMode="auto">
            <a:xfrm>
              <a:off x="782637" y="1608160"/>
              <a:ext cx="2367177" cy="271299"/>
            </a:xfrm>
            <a:prstGeom prst="rect">
              <a:avLst/>
            </a:prstGeom>
            <a:solidFill>
              <a:schemeClr val="bg1"/>
            </a:solidFill>
            <a:ln w="6350" cap="rnd" cmpd="sng" algn="ctr">
              <a:solidFill>
                <a:schemeClr val="bg2"/>
              </a:solid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lvl="0" indent="0" defTabSz="914400" rtl="0" eaLnBrk="0" fontAlgn="auto" latinLnBrk="0" hangingPunct="0">
                <a:lnSpc>
                  <a:spcPct val="100000"/>
                </a:lnSpc>
                <a:spcBef>
                  <a:spcPts val="0"/>
                </a:spcBef>
                <a:spcAft>
                  <a:spcPts val="0"/>
                </a:spcAft>
                <a:buClr>
                  <a:srgbClr val="4F81BD"/>
                </a:buClr>
                <a:buSzTx/>
                <a:buFontTx/>
                <a:buNone/>
                <a:tabLst/>
                <a:defRPr/>
              </a:pPr>
              <a:r>
                <a:rPr kumimoji="0" lang="en-US" sz="600" b="1" i="0" u="none" strike="noStrike" kern="0" cap="none" baseline="0" noProof="0">
                  <a:ln>
                    <a:noFill/>
                  </a:ln>
                  <a:solidFill>
                    <a:schemeClr val="tx2"/>
                  </a:solidFill>
                  <a:uLnTx/>
                  <a:uFillTx/>
                  <a:latin typeface="+mj-lt"/>
                  <a:ea typeface="+mn-ea"/>
                  <a:cs typeface="+mn-cs"/>
                </a:rPr>
                <a:t>1.1 Channels </a:t>
              </a:r>
            </a:p>
          </p:txBody>
        </p:sp>
      </p:grpSp>
    </p:spTree>
    <p:extLst>
      <p:ext uri="{BB962C8B-B14F-4D97-AF65-F5344CB8AC3E}">
        <p14:creationId xmlns:p14="http://schemas.microsoft.com/office/powerpoint/2010/main" val="2962999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962524"/>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7CBD817C-6015-451D-B296-EDFC29394D66}"/>
              </a:ext>
            </a:extLst>
          </p:cNvPr>
          <p:cNvSpPr>
            <a:spLocks noGrp="1"/>
          </p:cNvSpPr>
          <p:nvPr>
            <p:ph type="body" sz="quarter" idx="11"/>
          </p:nvPr>
        </p:nvSpPr>
        <p:spPr>
          <a:xfrm>
            <a:off x="695325" y="1376363"/>
            <a:ext cx="2632761" cy="118494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Text Placeholder 3">
            <a:extLst>
              <a:ext uri="{FF2B5EF4-FFF2-40B4-BE49-F238E27FC236}">
                <a16:creationId xmlns:a16="http://schemas.microsoft.com/office/drawing/2014/main" id="{6055AD5F-9595-4299-BB21-14DDD2359703}"/>
              </a:ext>
            </a:extLst>
          </p:cNvPr>
          <p:cNvSpPr>
            <a:spLocks noGrp="1"/>
          </p:cNvSpPr>
          <p:nvPr>
            <p:ph type="body" sz="quarter" idx="12"/>
          </p:nvPr>
        </p:nvSpPr>
        <p:spPr>
          <a:xfrm>
            <a:off x="3522963" y="1376363"/>
            <a:ext cx="2632761" cy="118494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Text Placeholder 3">
            <a:extLst>
              <a:ext uri="{FF2B5EF4-FFF2-40B4-BE49-F238E27FC236}">
                <a16:creationId xmlns:a16="http://schemas.microsoft.com/office/drawing/2014/main" id="{E931A440-2DCA-4331-AB27-3DC58BE908C5}"/>
              </a:ext>
            </a:extLst>
          </p:cNvPr>
          <p:cNvSpPr>
            <a:spLocks noGrp="1"/>
          </p:cNvSpPr>
          <p:nvPr>
            <p:ph type="body" sz="quarter" idx="13"/>
          </p:nvPr>
        </p:nvSpPr>
        <p:spPr>
          <a:xfrm>
            <a:off x="6350601" y="1376363"/>
            <a:ext cx="2632761" cy="118494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3">
            <a:extLst>
              <a:ext uri="{FF2B5EF4-FFF2-40B4-BE49-F238E27FC236}">
                <a16:creationId xmlns:a16="http://schemas.microsoft.com/office/drawing/2014/main" id="{80C0602A-9DBB-4D2A-A332-800B7672141E}"/>
              </a:ext>
            </a:extLst>
          </p:cNvPr>
          <p:cNvSpPr>
            <a:spLocks noGrp="1"/>
          </p:cNvSpPr>
          <p:nvPr>
            <p:ph type="body" sz="quarter" idx="14"/>
          </p:nvPr>
        </p:nvSpPr>
        <p:spPr>
          <a:xfrm>
            <a:off x="9178239" y="1376363"/>
            <a:ext cx="2632761" cy="118494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127842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1376363"/>
            <a:ext cx="5400675" cy="344710"/>
          </a:xfrm>
        </p:spPr>
        <p:txBody>
          <a:bodyPr wrap="square">
            <a:spAutoFit/>
          </a:bodyPr>
          <a:lstStyle>
            <a:lvl1pPr>
              <a:defRPr sz="2800"/>
            </a:lvl1pPr>
          </a:lstStyle>
          <a:p>
            <a:r>
              <a:rPr lang="en-GB"/>
              <a:t>Place headline here</a:t>
            </a:r>
            <a:endParaRPr lang="en-US"/>
          </a:p>
        </p:txBody>
      </p:sp>
      <p:sp>
        <p:nvSpPr>
          <p:cNvPr id="7" name="Text Placeholder 3">
            <a:extLst>
              <a:ext uri="{FF2B5EF4-FFF2-40B4-BE49-F238E27FC236}">
                <a16:creationId xmlns:a16="http://schemas.microsoft.com/office/drawing/2014/main" id="{E931A440-2DCA-4331-AB27-3DC58BE908C5}"/>
              </a:ext>
            </a:extLst>
          </p:cNvPr>
          <p:cNvSpPr>
            <a:spLocks noGrp="1"/>
          </p:cNvSpPr>
          <p:nvPr>
            <p:ph type="body" sz="quarter" idx="13"/>
          </p:nvPr>
        </p:nvSpPr>
        <p:spPr>
          <a:xfrm>
            <a:off x="6350601" y="1376363"/>
            <a:ext cx="2526699" cy="123110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Text Placeholder 3">
            <a:extLst>
              <a:ext uri="{FF2B5EF4-FFF2-40B4-BE49-F238E27FC236}">
                <a16:creationId xmlns:a16="http://schemas.microsoft.com/office/drawing/2014/main" id="{80C0602A-9DBB-4D2A-A332-800B7672141E}"/>
              </a:ext>
            </a:extLst>
          </p:cNvPr>
          <p:cNvSpPr>
            <a:spLocks noGrp="1"/>
          </p:cNvSpPr>
          <p:nvPr>
            <p:ph type="body" sz="quarter" idx="14"/>
          </p:nvPr>
        </p:nvSpPr>
        <p:spPr>
          <a:xfrm>
            <a:off x="9178239" y="1376363"/>
            <a:ext cx="2632761" cy="118494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3822498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DC10-B772-4D7E-B81A-DD4399FA7B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21FEB5-8F18-42BA-B8A3-206969B06E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CF24F-0E62-4852-95E0-7EA95DA3F7BA}"/>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069AA87B-2D95-4AD1-A10B-0C8E33B538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933746-323C-4EAD-A082-6B9BB46939D1}"/>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41236151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Tree>
    <p:extLst>
      <p:ext uri="{BB962C8B-B14F-4D97-AF65-F5344CB8AC3E}">
        <p14:creationId xmlns:p14="http://schemas.microsoft.com/office/powerpoint/2010/main" val="32440104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BEB5E-643C-4E44-B57B-4C6DDCF4A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ABDC66-6BDB-4B15-AD1F-54B8BD66A6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A600AF-A287-412D-A19A-1C047D373FC4}"/>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742025D3-752A-4F91-85FE-7ADDB9E890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34454-CF77-41FE-8607-521F0FC4CF41}"/>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22273486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DC10-B772-4D7E-B81A-DD4399FA7B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21FEB5-8F18-42BA-B8A3-206969B06E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BCF24F-0E62-4852-95E0-7EA95DA3F7BA}"/>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069AA87B-2D95-4AD1-A10B-0C8E33B538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933746-323C-4EAD-A082-6B9BB46939D1}"/>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767543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4644571" y="721026"/>
            <a:ext cx="7546244" cy="5411787"/>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1587631"/>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US"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 Placeholder 2">
            <a:extLst>
              <a:ext uri="{FF2B5EF4-FFF2-40B4-BE49-F238E27FC236}">
                <a16:creationId xmlns:a16="http://schemas.microsoft.com/office/drawing/2014/main" id="{E5B6C529-BE60-43BC-A7BF-AE1EDBF061EE}"/>
              </a:ext>
            </a:extLst>
          </p:cNvPr>
          <p:cNvSpPr>
            <a:spLocks noGrp="1"/>
          </p:cNvSpPr>
          <p:nvPr>
            <p:ph type="body" idx="10" hasCustomPrompt="1"/>
          </p:nvPr>
        </p:nvSpPr>
        <p:spPr>
          <a:xfrm>
            <a:off x="1143001" y="2254821"/>
            <a:ext cx="860813" cy="1769715"/>
          </a:xfrm>
        </p:spPr>
        <p:txBody>
          <a:bodyPr wrap="none" anchor="ctr"/>
          <a:lstStyle>
            <a:lvl1pPr marL="0" indent="0" algn="l" defTabSz="914400" rtl="0" eaLnBrk="1" latinLnBrk="0" hangingPunct="1">
              <a:lnSpc>
                <a:spcPct val="80000"/>
              </a:lnSpc>
              <a:spcBef>
                <a:spcPct val="0"/>
              </a:spcBef>
              <a:spcAft>
                <a:spcPts val="0"/>
              </a:spcAft>
              <a:buNone/>
              <a:defRPr lang="en-US" sz="115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Tree>
    <p:extLst>
      <p:ext uri="{BB962C8B-B14F-4D97-AF65-F5344CB8AC3E}">
        <p14:creationId xmlns:p14="http://schemas.microsoft.com/office/powerpoint/2010/main" val="7842262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2269C-0C49-45A5-8B2E-3BF5FCA996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2EC3885-9119-40EC-BCDA-6984E07F1E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B8B9D73-8886-421B-B0B0-4AA5AD201EF0}"/>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06C88110-CB99-4F8C-A129-3F9BD54E61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9D8624-49C7-49FD-B0BB-3A6748C2903A}"/>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10090421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1090-89A8-4B32-92FA-57191188F2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F9938E-19E7-4280-94CB-76D7668CBE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CB2E73-EC00-4B8C-9F51-B83A6E40111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E85AAD-9A9A-4894-AB54-FC573B9F2498}"/>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6" name="Footer Placeholder 5">
            <a:extLst>
              <a:ext uri="{FF2B5EF4-FFF2-40B4-BE49-F238E27FC236}">
                <a16:creationId xmlns:a16="http://schemas.microsoft.com/office/drawing/2014/main" id="{F503D0FA-0AFB-4688-845A-C85AE6A5EA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D9855D-9881-4D5B-A357-D14034C8697A}"/>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1074616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CF3C1-35D5-464D-B617-3049FABD745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83FD5F-E302-449C-A3F0-7D90691F9C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6CCD6B-9CE4-4938-8528-4EF064C7CFF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128828-01C3-40CC-BC71-16D29D8272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07115B-74EB-4379-A075-2E76540170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120641-90C9-44B1-B2D4-A465B4E57FA5}"/>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8" name="Footer Placeholder 7">
            <a:extLst>
              <a:ext uri="{FF2B5EF4-FFF2-40B4-BE49-F238E27FC236}">
                <a16:creationId xmlns:a16="http://schemas.microsoft.com/office/drawing/2014/main" id="{9E17F986-5D19-4CC2-8E15-DA77848DB5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D5C3C9-746F-44D0-A8AC-58E78735E2F4}"/>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259563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68362-D85B-4E1D-BDF8-725F94FF44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2901BBF-333A-4C57-8960-9BA64D0FE61E}"/>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4" name="Footer Placeholder 3">
            <a:extLst>
              <a:ext uri="{FF2B5EF4-FFF2-40B4-BE49-F238E27FC236}">
                <a16:creationId xmlns:a16="http://schemas.microsoft.com/office/drawing/2014/main" id="{9B785DDF-0341-498C-9299-427A3551D7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9DAA820-8CBC-4796-9BFB-76AAEB8CCFCA}"/>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206988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D276BA-012D-4771-8FA5-512AD110FB61}"/>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3" name="Footer Placeholder 2">
            <a:extLst>
              <a:ext uri="{FF2B5EF4-FFF2-40B4-BE49-F238E27FC236}">
                <a16:creationId xmlns:a16="http://schemas.microsoft.com/office/drawing/2014/main" id="{F52AB284-EDE3-41A7-9DDD-200AFBDBE1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FC3F0A-7B69-4033-A664-A56339A9806B}"/>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28031419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788FF-3CED-4791-AB31-BE60FC0C56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298019-D069-4287-918A-95270DEA7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72F2A39-3B8F-4B50-9D37-E77A3A48CF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CC2950-7EB5-483E-BB9A-555F7A7506F4}"/>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6" name="Footer Placeholder 5">
            <a:extLst>
              <a:ext uri="{FF2B5EF4-FFF2-40B4-BE49-F238E27FC236}">
                <a16:creationId xmlns:a16="http://schemas.microsoft.com/office/drawing/2014/main" id="{04C40169-3FC2-470B-A836-473704ABFD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E0F09F-3B1C-405B-8CD6-59FB9054057C}"/>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4920316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7CAF5-5FF0-44F0-9BCD-6B88385A0C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50E0EE-F746-45C7-A6BF-8C80BE8AEE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5CF13F-000E-41C0-93AA-5C49130E79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D9BAF1-E95B-485C-8550-23B16AD13559}"/>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6" name="Footer Placeholder 5">
            <a:extLst>
              <a:ext uri="{FF2B5EF4-FFF2-40B4-BE49-F238E27FC236}">
                <a16:creationId xmlns:a16="http://schemas.microsoft.com/office/drawing/2014/main" id="{C7472B60-89DA-47F1-AFD6-65B33C0C5F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8EA662-4912-44C5-AC47-773B255B32BC}"/>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23652396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3E0C5-2336-4FF0-9D80-D4AF429ACF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948F3E1-4B9B-4A98-8956-38D50C082D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3D81E8-58F5-429D-98D9-54AEEE348557}"/>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F9978541-7DC9-4548-BB25-A07F7B9AC1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C3C709-8EA0-4310-BF6A-B5D135F8926A}"/>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1100685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1C603F-6540-471A-B38F-0FA739F4B96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94CF55-DFA5-4DB3-BE99-6B81195661F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54B35-C828-488F-B502-E2DBEB648365}"/>
              </a:ext>
            </a:extLst>
          </p:cNvPr>
          <p:cNvSpPr>
            <a:spLocks noGrp="1"/>
          </p:cNvSpPr>
          <p:nvPr>
            <p:ph type="dt" sz="half" idx="10"/>
          </p:nvPr>
        </p:nvSpPr>
        <p:spPr/>
        <p:txBody>
          <a:body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9B2F7E64-6BA1-42E5-A86A-CF8745222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62F7AB-16CD-4894-8264-737C76ECD074}"/>
              </a:ext>
            </a:extLst>
          </p:cNvPr>
          <p:cNvSpPr>
            <a:spLocks noGrp="1"/>
          </p:cNvSpPr>
          <p:nvPr>
            <p:ph type="sldNum" sz="quarter" idx="12"/>
          </p:nvPr>
        </p:nvSpPr>
        <p:spPr/>
        <p:txBody>
          <a:bodyPr/>
          <a:lstStyle/>
          <a:p>
            <a:fld id="{36288A74-C48A-4370-A928-69B23542412B}" type="slidenum">
              <a:rPr lang="en-US" smtClean="0"/>
              <a:t>‹#›</a:t>
            </a:fld>
            <a:endParaRPr lang="en-US"/>
          </a:p>
        </p:txBody>
      </p:sp>
    </p:spTree>
    <p:extLst>
      <p:ext uri="{BB962C8B-B14F-4D97-AF65-F5344CB8AC3E}">
        <p14:creationId xmlns:p14="http://schemas.microsoft.com/office/powerpoint/2010/main" val="32769846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Blank - 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E66AF9-F0A7-44D9-904A-B5F532E1103B}"/>
              </a:ext>
            </a:extLst>
          </p:cNvPr>
          <p:cNvSpPr>
            <a:spLocks noChangeAspect="1"/>
          </p:cNvSpPr>
          <p:nvPr userDrawn="1"/>
        </p:nvSpPr>
        <p:spPr bwMode="auto">
          <a:xfrm>
            <a:off x="0" y="6140720"/>
            <a:ext cx="12192000" cy="717280"/>
          </a:xfrm>
          <a:prstGeom prst="rect">
            <a:avLst/>
          </a:prstGeom>
          <a:solidFill>
            <a:schemeClr val="accent1"/>
          </a:solidFill>
          <a:ln w="3175" cap="flat" cmpd="sng" algn="ctr">
            <a:noFill/>
            <a:prstDash val="solid"/>
          </a:ln>
          <a:effectLst>
            <a:innerShdw>
              <a:prstClr val="black">
                <a:alpha val="50000"/>
              </a:prstClr>
            </a:innerShdw>
          </a:effectLst>
          <a:scene3d>
            <a:camera prst="orthographicFront"/>
            <a:lightRig rig="threePt" dir="t"/>
          </a:scene3d>
          <a:sp3d>
            <a:bevelT w="0" h="0"/>
            <a:bevelB w="0" h="0"/>
          </a:sp3d>
        </p:spPr>
        <p:txBody>
          <a:bodyPr vert="horz" wrap="square" lIns="108000" tIns="108000" rIns="108000" bIns="108000" rtlCol="0" anchor="t"/>
          <a:lstStyle/>
          <a:p>
            <a:pPr marL="0" marR="0" lvl="0" indent="-85669" algn="l" defTabSz="914135" rtl="0" eaLnBrk="1" fontAlgn="base" latinLnBrk="0" hangingPunct="1">
              <a:lnSpc>
                <a:spcPct val="100000"/>
              </a:lnSpc>
              <a:spcBef>
                <a:spcPts val="600"/>
              </a:spcBef>
              <a:spcAft>
                <a:spcPct val="0"/>
              </a:spcAft>
              <a:buClrTx/>
              <a:buSzTx/>
              <a:buFontTx/>
              <a:buNone/>
              <a:tabLst/>
              <a:defRPr/>
            </a:pPr>
            <a:endParaRPr kumimoji="0" lang="en-GB" sz="1400" b="0" i="0" u="none" kern="0" cap="none" baseline="0" noProof="0">
              <a:ln>
                <a:noFill/>
              </a:ln>
              <a:solidFill>
                <a:srgbClr val="FFFFFF"/>
              </a:solidFill>
              <a:effectLst/>
              <a:uLnTx/>
              <a:uFillTx/>
              <a:latin typeface="Graphik Semibold"/>
              <a:ea typeface="+mn-ea"/>
              <a:cs typeface="Calibri" panose="020F0502020204030204" pitchFamily="34" charset="0"/>
              <a:sym typeface="Arial"/>
            </a:endParaRPr>
          </a:p>
        </p:txBody>
      </p:sp>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
        <p:nvSpPr>
          <p:cNvPr id="4" name="Text Placeholder 3">
            <a:extLst>
              <a:ext uri="{FF2B5EF4-FFF2-40B4-BE49-F238E27FC236}">
                <a16:creationId xmlns:a16="http://schemas.microsoft.com/office/drawing/2014/main" id="{6C8EFD01-CB16-4FB3-8E12-175EBB8B8998}"/>
              </a:ext>
            </a:extLst>
          </p:cNvPr>
          <p:cNvSpPr>
            <a:spLocks noGrp="1"/>
          </p:cNvSpPr>
          <p:nvPr>
            <p:ph type="body" sz="quarter" idx="11"/>
          </p:nvPr>
        </p:nvSpPr>
        <p:spPr>
          <a:xfrm>
            <a:off x="695325" y="1376363"/>
            <a:ext cx="11115675" cy="1387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7" name="TextBox 16">
            <a:extLst>
              <a:ext uri="{FF2B5EF4-FFF2-40B4-BE49-F238E27FC236}">
                <a16:creationId xmlns:a16="http://schemas.microsoft.com/office/drawing/2014/main" id="{4E053EF6-9449-43BD-9240-CDA4628A35F9}"/>
              </a:ext>
            </a:extLst>
          </p:cNvPr>
          <p:cNvSpPr txBox="1"/>
          <p:nvPr userDrawn="1"/>
        </p:nvSpPr>
        <p:spPr>
          <a:xfrm>
            <a:off x="8317890" y="647975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solidFill>
              </a:rPr>
              <a:t>Copyright © 2022 Accenture. All rights reserved.</a:t>
            </a:r>
            <a:endParaRPr lang="en-US" noProof="0" dirty="0">
              <a:solidFill>
                <a:schemeClr val="bg1"/>
              </a:solidFill>
            </a:endParaRPr>
          </a:p>
        </p:txBody>
      </p:sp>
      <p:sp>
        <p:nvSpPr>
          <p:cNvPr id="18" name="Slide Number Placeholder 6">
            <a:extLst>
              <a:ext uri="{FF2B5EF4-FFF2-40B4-BE49-F238E27FC236}">
                <a16:creationId xmlns:a16="http://schemas.microsoft.com/office/drawing/2014/main" id="{AC7CEB1A-9E5D-4D4F-923F-7B843EFF9E7C}"/>
              </a:ext>
            </a:extLst>
          </p:cNvPr>
          <p:cNvSpPr txBox="1">
            <a:spLocks/>
          </p:cNvSpPr>
          <p:nvPr userDrawn="1"/>
        </p:nvSpPr>
        <p:spPr>
          <a:xfrm>
            <a:off x="11429998" y="6477439"/>
            <a:ext cx="381001" cy="20784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ZA" smtClean="0">
                <a:solidFill>
                  <a:schemeClr val="bg1"/>
                </a:solidFill>
              </a:rPr>
              <a:pPr algn="r" defTabSz="228600">
                <a:spcAft>
                  <a:spcPts val="1200"/>
                </a:spcAft>
              </a:pPr>
              <a:t>‹#›</a:t>
            </a:fld>
            <a:endParaRPr lang="en-ZA">
              <a:solidFill>
                <a:schemeClr val="bg1"/>
              </a:solidFill>
            </a:endParaRPr>
          </a:p>
        </p:txBody>
      </p:sp>
      <p:sp>
        <p:nvSpPr>
          <p:cNvPr id="19" name="Rectangle 18">
            <a:extLst>
              <a:ext uri="{FF2B5EF4-FFF2-40B4-BE49-F238E27FC236}">
                <a16:creationId xmlns:a16="http://schemas.microsoft.com/office/drawing/2014/main" id="{E442B377-95A7-4851-A3C1-A1B834E9ACC5}"/>
              </a:ext>
            </a:extLst>
          </p:cNvPr>
          <p:cNvSpPr/>
          <p:nvPr userDrawn="1"/>
        </p:nvSpPr>
        <p:spPr>
          <a:xfrm>
            <a:off x="672340" y="6519625"/>
            <a:ext cx="1578958" cy="123111"/>
          </a:xfrm>
          <a:prstGeom prst="rect">
            <a:avLst/>
          </a:prstGeom>
          <a:noFill/>
        </p:spPr>
        <p:txBody>
          <a:bodyPr wrap="none" lIns="0" tIns="0" rIns="0" bIns="0" rtlCol="0" anchor="ctr">
            <a:spAutoFit/>
          </a:bodyPr>
          <a:lstStyle/>
          <a:p>
            <a:pPr marR="0" lvl="0" indent="0" algn="r" defTabSz="228600" fontAlgn="auto">
              <a:lnSpc>
                <a:spcPct val="100000"/>
              </a:lnSpc>
              <a:spcBef>
                <a:spcPts val="0"/>
              </a:spcBef>
              <a:spcAft>
                <a:spcPts val="1200"/>
              </a:spcAft>
              <a:buClrTx/>
              <a:buSzTx/>
              <a:buFontTx/>
              <a:buNone/>
              <a:tabLst/>
            </a:pPr>
            <a:r>
              <a:rPr lang="en-GB" sz="800" noProof="0">
                <a:solidFill>
                  <a:schemeClr val="bg1"/>
                </a:solidFill>
              </a:rPr>
              <a:t>Enterprise Technology Blueprint</a:t>
            </a:r>
            <a:endParaRPr lang="en-US" sz="800" noProof="0">
              <a:solidFill>
                <a:schemeClr val="bg1"/>
              </a:solidFill>
            </a:endParaRPr>
          </a:p>
        </p:txBody>
      </p:sp>
      <p:pic>
        <p:nvPicPr>
          <p:cNvPr id="20" name="Picture 19">
            <a:extLst>
              <a:ext uri="{FF2B5EF4-FFF2-40B4-BE49-F238E27FC236}">
                <a16:creationId xmlns:a16="http://schemas.microsoft.com/office/drawing/2014/main" id="{34614624-5FF5-4A70-9695-3192868879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726037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7E15B38-BDD2-43E4-B6A5-8DCDA929DC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US"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17016739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695325" y="3267635"/>
            <a:ext cx="5019675" cy="2092881"/>
          </a:xfrm>
        </p:spPr>
        <p:txBody>
          <a:bodyPr/>
          <a:lstStyle>
            <a:lvl1pPr marL="0" indent="0">
              <a:buNone/>
              <a:defRPr sz="2400">
                <a:solidFill>
                  <a:schemeClr val="accent1"/>
                </a:solidFill>
                <a:latin typeface="GT Sectra Fine Bk" panose="000004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695324" y="381000"/>
            <a:ext cx="5019675"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a:solidFill>
                  <a:schemeClr val="tx1">
                    <a:alpha val="75000"/>
                  </a:schemeClr>
                </a:solidFill>
              </a:rPr>
              <a:t>Copyright © 2022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2487428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4644571" y="721026"/>
            <a:ext cx="7546244" cy="5411787"/>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1587631"/>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US" sz="800" b="0" i="0" u="none" strike="noStrike" kern="0" cap="none" spc="0" normalizeH="0" baseline="0" noProof="0" dirty="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0" name="Text Placeholder 2">
            <a:extLst>
              <a:ext uri="{FF2B5EF4-FFF2-40B4-BE49-F238E27FC236}">
                <a16:creationId xmlns:a16="http://schemas.microsoft.com/office/drawing/2014/main" id="{E5B6C529-BE60-43BC-A7BF-AE1EDBF061EE}"/>
              </a:ext>
            </a:extLst>
          </p:cNvPr>
          <p:cNvSpPr>
            <a:spLocks noGrp="1"/>
          </p:cNvSpPr>
          <p:nvPr>
            <p:ph type="body" idx="10" hasCustomPrompt="1"/>
          </p:nvPr>
        </p:nvSpPr>
        <p:spPr>
          <a:xfrm>
            <a:off x="1143001" y="2254821"/>
            <a:ext cx="860813" cy="1769715"/>
          </a:xfrm>
        </p:spPr>
        <p:txBody>
          <a:bodyPr wrap="none" anchor="ctr"/>
          <a:lstStyle>
            <a:lvl1pPr marL="0" indent="0" algn="l" defTabSz="914400" rtl="0" eaLnBrk="1" latinLnBrk="0" hangingPunct="1">
              <a:lnSpc>
                <a:spcPct val="80000"/>
              </a:lnSpc>
              <a:spcBef>
                <a:spcPct val="0"/>
              </a:spcBef>
              <a:spcAft>
                <a:spcPts val="0"/>
              </a:spcAft>
              <a:buNone/>
              <a:defRPr lang="en-US" sz="115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Tree>
    <p:extLst>
      <p:ext uri="{BB962C8B-B14F-4D97-AF65-F5344CB8AC3E}">
        <p14:creationId xmlns:p14="http://schemas.microsoft.com/office/powerpoint/2010/main" val="1625169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4" y="381000"/>
            <a:ext cx="11115675" cy="344710"/>
          </a:xfrm>
        </p:spPr>
        <p:txBody>
          <a:bodyPr>
            <a:spAutoFit/>
          </a:bodyPr>
          <a:lstStyle>
            <a:lvl1pPr>
              <a:defRPr sz="2800"/>
            </a:lvl1pPr>
          </a:lstStyle>
          <a:p>
            <a:r>
              <a:rPr lang="en-GB"/>
              <a:t>Place headline here</a:t>
            </a:r>
            <a:endParaRPr lang="en-US"/>
          </a:p>
        </p:txBody>
      </p:sp>
    </p:spTree>
    <p:extLst>
      <p:ext uri="{BB962C8B-B14F-4D97-AF65-F5344CB8AC3E}">
        <p14:creationId xmlns:p14="http://schemas.microsoft.com/office/powerpoint/2010/main" val="15720083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695325" y="381000"/>
            <a:ext cx="1111567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695325" y="744760"/>
            <a:ext cx="11115675" cy="215444"/>
          </a:xfrm>
          <a:noFill/>
        </p:spPr>
        <p:txBody>
          <a:bodyPr wrap="square" lIns="0" tIns="0" rIns="0" bIns="0" rtlCol="0">
            <a:noAutofit/>
          </a:bodyPr>
          <a:lstStyle>
            <a:lvl1pPr>
              <a:defRPr lang="en-US" sz="1400" b="0" dirty="0" smtClean="0"/>
            </a:lvl1pPr>
          </a:lstStyle>
          <a:p>
            <a:pPr lvl="0">
              <a:spcAft>
                <a:spcPts val="1200"/>
              </a:spcAft>
            </a:pPr>
            <a:r>
              <a:rPr lang="en-US"/>
              <a:t>Click to edit Master text styles</a:t>
            </a:r>
          </a:p>
        </p:txBody>
      </p:sp>
    </p:spTree>
    <p:extLst>
      <p:ext uri="{BB962C8B-B14F-4D97-AF65-F5344CB8AC3E}">
        <p14:creationId xmlns:p14="http://schemas.microsoft.com/office/powerpoint/2010/main" val="444940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Blank - L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352270-BEDA-4BCB-AE4B-2B2219BA0BD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8"/>
          <a:stretch/>
        </p:blipFill>
        <p:spPr>
          <a:xfrm>
            <a:off x="1185" y="0"/>
            <a:ext cx="4251501" cy="6858000"/>
          </a:xfrm>
          <a:prstGeom prst="rect">
            <a:avLst/>
          </a:prstGeom>
        </p:spPr>
      </p:pic>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4495800" y="381000"/>
            <a:ext cx="5760564" cy="344710"/>
          </a:xfrm>
        </p:spPr>
        <p:txBody>
          <a:bodyPr wrap="square">
            <a:spAutoFit/>
          </a:bodyPr>
          <a:lstStyle>
            <a:lvl1pPr>
              <a:defRPr sz="2800"/>
            </a:lvl1pPr>
          </a:lstStyle>
          <a:p>
            <a:r>
              <a:rPr lang="en-GB"/>
              <a:t>Place headline here</a:t>
            </a:r>
            <a:endParaRPr lang="en-US"/>
          </a:p>
        </p:txBody>
      </p:sp>
      <p:sp>
        <p:nvSpPr>
          <p:cNvPr id="5" name="Text Placeholder 4">
            <a:extLst>
              <a:ext uri="{FF2B5EF4-FFF2-40B4-BE49-F238E27FC236}">
                <a16:creationId xmlns:a16="http://schemas.microsoft.com/office/drawing/2014/main" id="{24B77B08-72A9-4CA7-B078-770BEAFB2333}"/>
              </a:ext>
            </a:extLst>
          </p:cNvPr>
          <p:cNvSpPr>
            <a:spLocks noGrp="1"/>
          </p:cNvSpPr>
          <p:nvPr>
            <p:ph type="body" sz="quarter" idx="10"/>
          </p:nvPr>
        </p:nvSpPr>
        <p:spPr>
          <a:xfrm>
            <a:off x="4495800" y="1123209"/>
            <a:ext cx="7315200" cy="215444"/>
          </a:xfrm>
          <a:noFill/>
        </p:spPr>
        <p:txBody>
          <a:bodyPr wrap="square" lIns="0" tIns="0" rIns="0" bIns="0" rtlCol="0">
            <a:noAutofit/>
          </a:bodyPr>
          <a:lstStyle>
            <a:lvl1pPr>
              <a:defRPr lang="en-US" sz="1400" b="0" dirty="0" smtClean="0">
                <a:latin typeface="+mj-lt"/>
              </a:defRPr>
            </a:lvl1pPr>
          </a:lstStyle>
          <a:p>
            <a:pPr lvl="0">
              <a:spcAft>
                <a:spcPts val="1200"/>
              </a:spcAft>
            </a:pPr>
            <a:r>
              <a:rPr lang="en-US"/>
              <a:t>Click to edit Master text styles</a:t>
            </a:r>
          </a:p>
        </p:txBody>
      </p:sp>
      <p:pic>
        <p:nvPicPr>
          <p:cNvPr id="6" name="Picture 5">
            <a:extLst>
              <a:ext uri="{FF2B5EF4-FFF2-40B4-BE49-F238E27FC236}">
                <a16:creationId xmlns:a16="http://schemas.microsoft.com/office/drawing/2014/main" id="{72C7E25A-9D10-4AD0-9A18-C5CB2982F56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7" name="TextBox 6">
            <a:extLst>
              <a:ext uri="{FF2B5EF4-FFF2-40B4-BE49-F238E27FC236}">
                <a16:creationId xmlns:a16="http://schemas.microsoft.com/office/drawing/2014/main" id="{A0DDCF9D-D9A1-4212-ABC1-57EF93AE17C4}"/>
              </a:ext>
            </a:extLst>
          </p:cNvPr>
          <p:cNvSpPr txBox="1"/>
          <p:nvPr userDrawn="1"/>
        </p:nvSpPr>
        <p:spPr>
          <a:xfrm>
            <a:off x="700314" y="6522125"/>
            <a:ext cx="1578958" cy="123111"/>
          </a:xfrm>
          <a:prstGeom prst="rect">
            <a:avLst/>
          </a:prstGeom>
          <a:noFill/>
        </p:spPr>
        <p:txBody>
          <a:bodyPr wrap="none" lIns="0" tIns="0" rIns="0" bIns="0" rtlCol="0" anchor="ctr">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noProof="0">
                <a:solidFill>
                  <a:schemeClr val="bg1">
                    <a:alpha val="75000"/>
                  </a:schemeClr>
                </a:solidFill>
              </a:rPr>
              <a:t>Enterprise Technology Blueprint</a:t>
            </a:r>
            <a:endParaRPr lang="en-US" sz="800" noProof="0">
              <a:solidFill>
                <a:schemeClr val="bg1">
                  <a:alpha val="75000"/>
                </a:schemeClr>
              </a:solidFill>
            </a:endParaRPr>
          </a:p>
        </p:txBody>
      </p:sp>
      <p:sp>
        <p:nvSpPr>
          <p:cNvPr id="9" name="Rectangle: Rounded Corners 8">
            <a:extLst>
              <a:ext uri="{FF2B5EF4-FFF2-40B4-BE49-F238E27FC236}">
                <a16:creationId xmlns:a16="http://schemas.microsoft.com/office/drawing/2014/main" id="{BDC3F02A-CC21-4E8F-AE4F-CD7A52F915BE}"/>
              </a:ext>
            </a:extLst>
          </p:cNvPr>
          <p:cNvSpPr/>
          <p:nvPr userDrawn="1"/>
        </p:nvSpPr>
        <p:spPr>
          <a:xfrm>
            <a:off x="4495799" y="1376363"/>
            <a:ext cx="3648959" cy="2441493"/>
          </a:xfrm>
          <a:prstGeom prst="roundRect">
            <a:avLst>
              <a:gd name="adj" fmla="val 0"/>
            </a:avLst>
          </a:prstGeom>
          <a:solidFill>
            <a:schemeClr val="bg1"/>
          </a:solidFill>
          <a:ln w="3175">
            <a:solidFill>
              <a:schemeClr val="tx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p:style>
        <p:txBody>
          <a:bodyPr rot="0" spcFirstLastPara="0" vertOverflow="overflow" horzOverflow="overflow" vert="horz" wrap="square" lIns="144000" tIns="108000" rIns="144000" bIns="36000" numCol="1" spcCol="0" rtlCol="0" fromWordArt="0" anchor="t"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r>
              <a:rPr kumimoji="0" lang="en-GB" sz="1200" b="0" i="0" u="none" strike="noStrike" cap="none" spc="0" normalizeH="0" baseline="0" noProof="0">
                <a:ln>
                  <a:noFill/>
                </a:ln>
                <a:solidFill>
                  <a:schemeClr val="tx1"/>
                </a:solidFill>
                <a:effectLst/>
                <a:uLnTx/>
                <a:uFillTx/>
                <a:latin typeface="+mj-lt"/>
              </a:rPr>
              <a:t>Activities</a:t>
            </a:r>
          </a:p>
        </p:txBody>
      </p:sp>
      <p:sp>
        <p:nvSpPr>
          <p:cNvPr id="10" name="Rectangle: Rounded Corners 9">
            <a:extLst>
              <a:ext uri="{FF2B5EF4-FFF2-40B4-BE49-F238E27FC236}">
                <a16:creationId xmlns:a16="http://schemas.microsoft.com/office/drawing/2014/main" id="{51A0166A-F108-47AE-9AAC-65BFDADC7F68}"/>
              </a:ext>
            </a:extLst>
          </p:cNvPr>
          <p:cNvSpPr/>
          <p:nvPr userDrawn="1"/>
        </p:nvSpPr>
        <p:spPr>
          <a:xfrm>
            <a:off x="8257395" y="1376361"/>
            <a:ext cx="3167844" cy="4932999"/>
          </a:xfrm>
          <a:prstGeom prst="roundRect">
            <a:avLst>
              <a:gd name="adj" fmla="val 0"/>
            </a:avLst>
          </a:prstGeom>
          <a:solidFill>
            <a:schemeClr val="bg1"/>
          </a:solidFill>
          <a:ln w="3175">
            <a:solidFill>
              <a:schemeClr val="tx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p:style>
        <p:txBody>
          <a:bodyPr rot="0" spcFirstLastPara="0" vertOverflow="overflow" horzOverflow="overflow" vert="horz" wrap="square" lIns="144000" tIns="108000" rIns="144000" bIns="36000" numCol="1" spcCol="0" rtlCol="0" fromWordArt="0" anchor="t" anchorCtr="0" forceAA="0" compatLnSpc="1">
            <a:prstTxWarp prst="textNoShape">
              <a:avLst/>
            </a:prstTxWarp>
            <a:noAutofit/>
          </a:bodyPr>
          <a:lstStyle/>
          <a:p>
            <a:pPr marR="0" lvl="0" indent="0" fontAlgn="auto">
              <a:lnSpc>
                <a:spcPct val="100000"/>
              </a:lnSpc>
              <a:spcBef>
                <a:spcPts val="0"/>
              </a:spcBef>
              <a:spcAft>
                <a:spcPts val="0"/>
              </a:spcAft>
              <a:buClrTx/>
              <a:buSzTx/>
              <a:buFontTx/>
              <a:buNone/>
              <a:tabLst/>
            </a:pPr>
            <a:r>
              <a:rPr kumimoji="0" lang="en-GB" sz="1200" b="0" i="0" u="none" strike="noStrike" cap="none" spc="0" normalizeH="0" baseline="0" noProof="0">
                <a:ln>
                  <a:noFill/>
                </a:ln>
                <a:solidFill>
                  <a:schemeClr val="tx1"/>
                </a:solidFill>
                <a:effectLst/>
                <a:uLnTx/>
                <a:uFillTx/>
                <a:latin typeface="+mj-lt"/>
              </a:rPr>
              <a:t>Key assets</a:t>
            </a:r>
          </a:p>
        </p:txBody>
      </p:sp>
      <p:sp>
        <p:nvSpPr>
          <p:cNvPr id="8" name="Rectangle: Rounded Corners 7">
            <a:extLst>
              <a:ext uri="{FF2B5EF4-FFF2-40B4-BE49-F238E27FC236}">
                <a16:creationId xmlns:a16="http://schemas.microsoft.com/office/drawing/2014/main" id="{5FEDFC38-40BB-4837-94AA-D8E031C9C8BC}"/>
              </a:ext>
            </a:extLst>
          </p:cNvPr>
          <p:cNvSpPr/>
          <p:nvPr userDrawn="1"/>
        </p:nvSpPr>
        <p:spPr>
          <a:xfrm>
            <a:off x="4495798" y="5189537"/>
            <a:ext cx="3648959" cy="1119824"/>
          </a:xfrm>
          <a:prstGeom prst="roundRect">
            <a:avLst>
              <a:gd name="adj" fmla="val 0"/>
            </a:avLst>
          </a:prstGeom>
          <a:solidFill>
            <a:schemeClr val="bg1"/>
          </a:solidFill>
          <a:ln w="3175">
            <a:solidFill>
              <a:schemeClr val="tx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p:style>
        <p:txBody>
          <a:bodyPr rot="0" spcFirstLastPara="0" vertOverflow="overflow" horzOverflow="overflow" vert="horz" wrap="square" lIns="144000" tIns="108000" rIns="144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7900BF"/>
                </a:solidFill>
                <a:effectLst/>
                <a:uLnTx/>
                <a:uFillTx/>
                <a:latin typeface="+mj-lt"/>
                <a:ea typeface="+mn-ea"/>
                <a:cs typeface="+mn-cs"/>
              </a:rPr>
              <a:t>Buyers</a:t>
            </a:r>
            <a:endParaRPr kumimoji="0" lang="en-GB" sz="1200" b="0" i="1" u="none" strike="noStrike" kern="1200" cap="none" spc="0" normalizeH="0" baseline="0" noProof="0">
              <a:ln>
                <a:noFill/>
              </a:ln>
              <a:solidFill>
                <a:srgbClr val="7900BF"/>
              </a:solidFill>
              <a:effectLst/>
              <a:uLnTx/>
              <a:uFillTx/>
              <a:latin typeface="+mj-lt"/>
              <a:ea typeface="+mn-ea"/>
              <a:cs typeface="+mn-cs"/>
            </a:endParaRPr>
          </a:p>
        </p:txBody>
      </p:sp>
      <p:sp>
        <p:nvSpPr>
          <p:cNvPr id="11" name="Rectangle: Rounded Corners 10">
            <a:extLst>
              <a:ext uri="{FF2B5EF4-FFF2-40B4-BE49-F238E27FC236}">
                <a16:creationId xmlns:a16="http://schemas.microsoft.com/office/drawing/2014/main" id="{1F0AB77A-67A3-4A89-AA37-F2C952121A4F}"/>
              </a:ext>
            </a:extLst>
          </p:cNvPr>
          <p:cNvSpPr/>
          <p:nvPr userDrawn="1"/>
        </p:nvSpPr>
        <p:spPr>
          <a:xfrm>
            <a:off x="4495799" y="3955254"/>
            <a:ext cx="3648959" cy="1154597"/>
          </a:xfrm>
          <a:prstGeom prst="roundRect">
            <a:avLst>
              <a:gd name="adj" fmla="val 0"/>
            </a:avLst>
          </a:prstGeom>
          <a:solidFill>
            <a:schemeClr val="bg1"/>
          </a:solidFill>
          <a:ln w="3175">
            <a:solidFill>
              <a:schemeClr val="tx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p:style>
        <p:txBody>
          <a:bodyPr rot="0" spcFirstLastPara="0" vertOverflow="overflow" horzOverflow="overflow" vert="horz" wrap="square" lIns="144000" tIns="108000" rIns="144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7900BF"/>
                </a:solidFill>
                <a:effectLst/>
                <a:uLnTx/>
                <a:uFillTx/>
                <a:latin typeface="+mj-lt"/>
                <a:ea typeface="+mn-ea"/>
                <a:cs typeface="+mn-cs"/>
              </a:rPr>
              <a:t>Outcomes</a:t>
            </a:r>
            <a:endParaRPr kumimoji="0" lang="en-GB" sz="1200" b="0" i="1" u="none" strike="noStrike" kern="1200" cap="none" spc="0" normalizeH="0" baseline="0" noProof="0">
              <a:ln>
                <a:noFill/>
              </a:ln>
              <a:solidFill>
                <a:srgbClr val="7900BF"/>
              </a:solidFill>
              <a:effectLst/>
              <a:uLnTx/>
              <a:uFillTx/>
              <a:latin typeface="+mj-lt"/>
              <a:ea typeface="+mn-ea"/>
              <a:cs typeface="+mn-cs"/>
            </a:endParaRPr>
          </a:p>
        </p:txBody>
      </p:sp>
      <p:sp>
        <p:nvSpPr>
          <p:cNvPr id="13" name="Text Placeholder 12">
            <a:extLst>
              <a:ext uri="{FF2B5EF4-FFF2-40B4-BE49-F238E27FC236}">
                <a16:creationId xmlns:a16="http://schemas.microsoft.com/office/drawing/2014/main" id="{CB4B846D-5239-4217-817C-29FFE4D8AC07}"/>
              </a:ext>
            </a:extLst>
          </p:cNvPr>
          <p:cNvSpPr>
            <a:spLocks noGrp="1"/>
          </p:cNvSpPr>
          <p:nvPr userDrawn="1">
            <p:ph type="body" sz="quarter" idx="11"/>
          </p:nvPr>
        </p:nvSpPr>
        <p:spPr>
          <a:xfrm>
            <a:off x="4640579" y="1735835"/>
            <a:ext cx="3371533" cy="677108"/>
          </a:xfrm>
        </p:spPr>
        <p:txBody>
          <a:bodyPr/>
          <a:lstStyle>
            <a:lvl1pPr>
              <a:defRPr sz="1100"/>
            </a:lvl1pPr>
            <a:lvl2pPr>
              <a:defRPr sz="1100"/>
            </a:lvl2pPr>
            <a:lvl3pPr>
              <a:defRPr sz="1100"/>
            </a:lvl3pPr>
            <a:lvl4pPr marL="144000" indent="0">
              <a:buNone/>
              <a:defRPr/>
            </a:lvl4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2945C4FA-06EC-4A65-A1BF-81D3165FC120}"/>
              </a:ext>
            </a:extLst>
          </p:cNvPr>
          <p:cNvSpPr>
            <a:spLocks noGrp="1"/>
          </p:cNvSpPr>
          <p:nvPr userDrawn="1">
            <p:ph type="body" sz="quarter" idx="12"/>
          </p:nvPr>
        </p:nvSpPr>
        <p:spPr>
          <a:xfrm>
            <a:off x="8387871" y="1735835"/>
            <a:ext cx="2886587" cy="677108"/>
          </a:xfrm>
        </p:spPr>
        <p:txBody>
          <a:bodyPr/>
          <a:lstStyle>
            <a:lvl1pPr>
              <a:defRPr sz="1100"/>
            </a:lvl1pPr>
            <a:lvl2pPr>
              <a:defRPr sz="1100"/>
            </a:lvl2pPr>
            <a:lvl3pPr>
              <a:defRPr sz="1100"/>
            </a:lvl3pPr>
            <a:lvl4pPr marL="144000" indent="0">
              <a:buNone/>
              <a:defRPr/>
            </a:lvl4pPr>
          </a:lstStyle>
          <a:p>
            <a:pPr lvl="0"/>
            <a:r>
              <a:rPr lang="en-US"/>
              <a:t>Click to edit Master text styles</a:t>
            </a:r>
          </a:p>
          <a:p>
            <a:pPr lvl="1"/>
            <a:r>
              <a:rPr lang="en-US"/>
              <a:t>Second level</a:t>
            </a:r>
          </a:p>
          <a:p>
            <a:pPr lvl="2"/>
            <a:r>
              <a:rPr lang="en-US"/>
              <a:t>Third level</a:t>
            </a:r>
          </a:p>
        </p:txBody>
      </p:sp>
      <p:sp>
        <p:nvSpPr>
          <p:cNvPr id="15" name="Text Placeholder 12">
            <a:extLst>
              <a:ext uri="{FF2B5EF4-FFF2-40B4-BE49-F238E27FC236}">
                <a16:creationId xmlns:a16="http://schemas.microsoft.com/office/drawing/2014/main" id="{BB9CAABB-817E-446C-8A98-EB4C009B7828}"/>
              </a:ext>
            </a:extLst>
          </p:cNvPr>
          <p:cNvSpPr>
            <a:spLocks noGrp="1"/>
          </p:cNvSpPr>
          <p:nvPr userDrawn="1">
            <p:ph type="body" sz="quarter" idx="13"/>
          </p:nvPr>
        </p:nvSpPr>
        <p:spPr>
          <a:xfrm>
            <a:off x="4640579" y="4287365"/>
            <a:ext cx="3371533" cy="677108"/>
          </a:xfrm>
        </p:spPr>
        <p:txBody>
          <a:bodyPr/>
          <a:lstStyle>
            <a:lvl1pPr>
              <a:defRPr sz="1100"/>
            </a:lvl1pPr>
            <a:lvl2pPr>
              <a:defRPr sz="1100"/>
            </a:lvl2pPr>
            <a:lvl3pPr>
              <a:defRPr sz="1100"/>
            </a:lvl3pPr>
            <a:lvl4pPr marL="144000" indent="0">
              <a:buNone/>
              <a:defRPr/>
            </a:lvl4pPr>
          </a:lstStyle>
          <a:p>
            <a:pPr lvl="0"/>
            <a:r>
              <a:rPr lang="en-US"/>
              <a:t>Click to edit Master text styles</a:t>
            </a:r>
          </a:p>
          <a:p>
            <a:pPr lvl="1"/>
            <a:r>
              <a:rPr lang="en-US"/>
              <a:t>Second level</a:t>
            </a:r>
          </a:p>
          <a:p>
            <a:pPr lvl="2"/>
            <a:r>
              <a:rPr lang="en-US"/>
              <a:t>Third level</a:t>
            </a:r>
          </a:p>
        </p:txBody>
      </p:sp>
      <p:sp>
        <p:nvSpPr>
          <p:cNvPr id="16" name="Text Placeholder 12">
            <a:extLst>
              <a:ext uri="{FF2B5EF4-FFF2-40B4-BE49-F238E27FC236}">
                <a16:creationId xmlns:a16="http://schemas.microsoft.com/office/drawing/2014/main" id="{B622E035-89F8-4599-AEDB-4EE0F1C43B0A}"/>
              </a:ext>
            </a:extLst>
          </p:cNvPr>
          <p:cNvSpPr>
            <a:spLocks noGrp="1"/>
          </p:cNvSpPr>
          <p:nvPr userDrawn="1">
            <p:ph type="body" sz="quarter" idx="14"/>
          </p:nvPr>
        </p:nvSpPr>
        <p:spPr>
          <a:xfrm>
            <a:off x="4640579" y="5521648"/>
            <a:ext cx="3335343" cy="623248"/>
          </a:xfrm>
        </p:spPr>
        <p:txBody>
          <a:bodyPr numCol="2" spcCol="360000"/>
          <a:lstStyle>
            <a:lvl1pPr>
              <a:defRPr sz="1100"/>
            </a:lvl1pPr>
            <a:lvl2pPr>
              <a:defRPr sz="1100"/>
            </a:lvl2pPr>
            <a:lvl3pPr>
              <a:defRPr sz="1100"/>
            </a:lvl3pPr>
            <a:lvl4pPr marL="144000" indent="0">
              <a:buNone/>
              <a:defRPr/>
            </a:lvl4pPr>
          </a:lstStyle>
          <a:p>
            <a:pPr lvl="0"/>
            <a:r>
              <a:rPr lang="en-US"/>
              <a:t>Click to edit Master text styles</a:t>
            </a:r>
          </a:p>
          <a:p>
            <a:pPr lvl="1"/>
            <a:r>
              <a:rPr lang="en-US"/>
              <a:t>Second level</a:t>
            </a:r>
          </a:p>
          <a:p>
            <a:pPr lvl="2"/>
            <a:r>
              <a:rPr lang="en-US"/>
              <a:t>Third level</a:t>
            </a:r>
          </a:p>
        </p:txBody>
      </p:sp>
      <p:sp>
        <p:nvSpPr>
          <p:cNvPr id="17" name="Rectangle: Rounded Corners 16">
            <a:extLst>
              <a:ext uri="{FF2B5EF4-FFF2-40B4-BE49-F238E27FC236}">
                <a16:creationId xmlns:a16="http://schemas.microsoft.com/office/drawing/2014/main" id="{E6A0EE46-B0FC-46DA-9E2E-E327E71ACCFE}"/>
              </a:ext>
            </a:extLst>
          </p:cNvPr>
          <p:cNvSpPr/>
          <p:nvPr userDrawn="1"/>
        </p:nvSpPr>
        <p:spPr>
          <a:xfrm>
            <a:off x="695324" y="3003413"/>
            <a:ext cx="3305175" cy="3305948"/>
          </a:xfrm>
          <a:prstGeom prst="roundRect">
            <a:avLst>
              <a:gd name="adj" fmla="val 0"/>
            </a:avLst>
          </a:prstGeom>
          <a:solidFill>
            <a:schemeClr val="bg1"/>
          </a:solidFill>
          <a:ln w="9360">
            <a:noFill/>
          </a:ln>
          <a:effectLst>
            <a:innerShdw blurRad="63500" dist="50800" dir="10800000">
              <a:prstClr val="black">
                <a:alpha val="50000"/>
              </a:prstClr>
            </a:innerShdw>
          </a:effectLst>
        </p:spPr>
        <p:style>
          <a:lnRef idx="0">
            <a:scrgbClr r="0" g="0" b="0"/>
          </a:lnRef>
          <a:fillRef idx="0">
            <a:scrgbClr r="0" g="0" b="0"/>
          </a:fillRef>
          <a:effectRef idx="0">
            <a:scrgbClr r="0" g="0" b="0"/>
          </a:effectRef>
          <a:fontRef idx="minor"/>
        </p:style>
        <p:txBody>
          <a:bodyPr rot="0" spcFirstLastPara="0" vertOverflow="overflow" horzOverflow="overflow" vert="horz" wrap="square" lIns="144000" tIns="144000" rIns="18000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solidFill>
                <a:effectLst/>
                <a:uLnTx/>
                <a:uFillTx/>
                <a:latin typeface="+mj-lt"/>
                <a:ea typeface="+mn-ea"/>
                <a:cs typeface="+mn-cs"/>
              </a:rPr>
              <a:t>Client questions addressed</a:t>
            </a:r>
            <a:endParaRPr kumimoji="0" lang="en-GB" sz="1400" b="0" i="1" u="none" strike="noStrike" kern="1200" cap="none" spc="0" normalizeH="0" baseline="0" noProof="0">
              <a:ln>
                <a:noFill/>
              </a:ln>
              <a:solidFill>
                <a:schemeClr val="tx1"/>
              </a:solidFill>
              <a:effectLst/>
              <a:uLnTx/>
              <a:uFillTx/>
              <a:latin typeface="+mj-lt"/>
              <a:ea typeface="+mn-ea"/>
              <a:cs typeface="+mn-cs"/>
            </a:endParaRPr>
          </a:p>
        </p:txBody>
      </p:sp>
      <p:sp>
        <p:nvSpPr>
          <p:cNvPr id="18" name="Text Placeholder 12">
            <a:extLst>
              <a:ext uri="{FF2B5EF4-FFF2-40B4-BE49-F238E27FC236}">
                <a16:creationId xmlns:a16="http://schemas.microsoft.com/office/drawing/2014/main" id="{B4D1E3F2-967C-45FA-8720-A426561F6846}"/>
              </a:ext>
            </a:extLst>
          </p:cNvPr>
          <p:cNvSpPr>
            <a:spLocks noGrp="1"/>
          </p:cNvSpPr>
          <p:nvPr userDrawn="1">
            <p:ph type="body" sz="quarter" idx="15"/>
          </p:nvPr>
        </p:nvSpPr>
        <p:spPr>
          <a:xfrm>
            <a:off x="854352" y="3525838"/>
            <a:ext cx="2888973" cy="677108"/>
          </a:xfrm>
        </p:spPr>
        <p:txBody>
          <a:bodyPr/>
          <a:lstStyle>
            <a:lvl1pPr>
              <a:defRPr sz="1100">
                <a:solidFill>
                  <a:schemeClr val="tx1"/>
                </a:solidFill>
              </a:defRPr>
            </a:lvl1pPr>
            <a:lvl2pPr>
              <a:defRPr sz="1100">
                <a:solidFill>
                  <a:schemeClr val="tx1"/>
                </a:solidFill>
              </a:defRPr>
            </a:lvl2pPr>
            <a:lvl3pPr>
              <a:defRPr sz="1100">
                <a:solidFill>
                  <a:schemeClr val="tx1"/>
                </a:solidFill>
              </a:defRPr>
            </a:lvl3pPr>
            <a:lvl4pPr marL="144000" indent="0">
              <a:buNone/>
              <a:defRPr/>
            </a:lvl4pPr>
          </a:lstStyle>
          <a:p>
            <a:pPr lvl="0"/>
            <a:r>
              <a:rPr lang="en-US"/>
              <a:t>Click to edit Master text styles</a:t>
            </a:r>
          </a:p>
          <a:p>
            <a:pPr lvl="1"/>
            <a:r>
              <a:rPr lang="en-US"/>
              <a:t>Second level</a:t>
            </a:r>
          </a:p>
          <a:p>
            <a:pPr lvl="2"/>
            <a:r>
              <a:rPr lang="en-US"/>
              <a:t>Third level</a:t>
            </a:r>
          </a:p>
        </p:txBody>
      </p:sp>
      <p:sp>
        <p:nvSpPr>
          <p:cNvPr id="19" name="Rectangle: Rounded Corners 18">
            <a:extLst>
              <a:ext uri="{FF2B5EF4-FFF2-40B4-BE49-F238E27FC236}">
                <a16:creationId xmlns:a16="http://schemas.microsoft.com/office/drawing/2014/main" id="{A331AB31-8511-4AD0-BAA1-403FCF706B8D}"/>
              </a:ext>
            </a:extLst>
          </p:cNvPr>
          <p:cNvSpPr/>
          <p:nvPr userDrawn="1"/>
        </p:nvSpPr>
        <p:spPr>
          <a:xfrm>
            <a:off x="1440764" y="990434"/>
            <a:ext cx="1197662" cy="451723"/>
          </a:xfrm>
          <a:prstGeom prst="roundRect">
            <a:avLst>
              <a:gd name="adj" fmla="val 0"/>
            </a:avLst>
          </a:prstGeom>
          <a:noFill/>
          <a:ln w="9360">
            <a:noFill/>
          </a:ln>
        </p:spPr>
        <p:style>
          <a:lnRef idx="0">
            <a:scrgbClr r="0" g="0" b="0"/>
          </a:lnRef>
          <a:fillRef idx="0">
            <a:scrgbClr r="0" g="0" b="0"/>
          </a:fillRef>
          <a:effectRef idx="0">
            <a:scrgbClr r="0" g="0" b="0"/>
          </a:effectRef>
          <a:fontRef idx="minor"/>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mj-lt"/>
                <a:ea typeface="+mn-ea"/>
                <a:cs typeface="+mn-cs"/>
              </a:rPr>
              <a:t>Delivering the value</a:t>
            </a:r>
          </a:p>
        </p:txBody>
      </p:sp>
      <p:sp>
        <p:nvSpPr>
          <p:cNvPr id="20" name="Oval 19">
            <a:extLst>
              <a:ext uri="{FF2B5EF4-FFF2-40B4-BE49-F238E27FC236}">
                <a16:creationId xmlns:a16="http://schemas.microsoft.com/office/drawing/2014/main" id="{B2ABE185-F7CD-4C98-8CC2-1F0D285DCC89}"/>
              </a:ext>
            </a:extLst>
          </p:cNvPr>
          <p:cNvSpPr/>
          <p:nvPr userDrawn="1"/>
        </p:nvSpPr>
        <p:spPr>
          <a:xfrm>
            <a:off x="696110" y="890810"/>
            <a:ext cx="610668" cy="610668"/>
          </a:xfrm>
          <a:prstGeom prst="ellipse">
            <a:avLst/>
          </a:prstGeom>
          <a:solidFill>
            <a:schemeClr val="bg1"/>
          </a:solidFill>
          <a:ln w="31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Graphik"/>
              <a:ea typeface="+mn-ea"/>
              <a:cs typeface="+mn-cs"/>
            </a:endParaRPr>
          </a:p>
        </p:txBody>
      </p:sp>
      <p:sp>
        <p:nvSpPr>
          <p:cNvPr id="21" name="Text Placeholder 12">
            <a:extLst>
              <a:ext uri="{FF2B5EF4-FFF2-40B4-BE49-F238E27FC236}">
                <a16:creationId xmlns:a16="http://schemas.microsoft.com/office/drawing/2014/main" id="{B017953B-50A9-4667-8C55-60698E893FB9}"/>
              </a:ext>
            </a:extLst>
          </p:cNvPr>
          <p:cNvSpPr>
            <a:spLocks noGrp="1"/>
          </p:cNvSpPr>
          <p:nvPr userDrawn="1">
            <p:ph type="body" sz="quarter" idx="16"/>
          </p:nvPr>
        </p:nvSpPr>
        <p:spPr>
          <a:xfrm>
            <a:off x="696110" y="1960058"/>
            <a:ext cx="2602022" cy="584775"/>
          </a:xfrm>
        </p:spPr>
        <p:txBody>
          <a:bodyPr anchor="ctr"/>
          <a:lstStyle>
            <a:lvl1pPr>
              <a:lnSpc>
                <a:spcPct val="95000"/>
              </a:lnSpc>
              <a:defRPr sz="2000">
                <a:solidFill>
                  <a:schemeClr val="accent6"/>
                </a:solidFill>
                <a:latin typeface="+mj-lt"/>
              </a:defRPr>
            </a:lvl1pPr>
            <a:lvl2pPr>
              <a:defRPr sz="1100">
                <a:solidFill>
                  <a:schemeClr val="bg1"/>
                </a:solidFill>
              </a:defRPr>
            </a:lvl2pPr>
            <a:lvl3pPr>
              <a:defRPr sz="1100">
                <a:solidFill>
                  <a:schemeClr val="bg1"/>
                </a:solidFill>
              </a:defRPr>
            </a:lvl3pPr>
            <a:lvl4pPr marL="144000" indent="0">
              <a:buNone/>
              <a:defRPr/>
            </a:lvl4pPr>
          </a:lstStyle>
          <a:p>
            <a:pPr lvl="0"/>
            <a:r>
              <a:rPr lang="en-US"/>
              <a:t>Click to edit Master text styles</a:t>
            </a:r>
          </a:p>
        </p:txBody>
      </p:sp>
    </p:spTree>
    <p:extLst>
      <p:ext uri="{BB962C8B-B14F-4D97-AF65-F5344CB8AC3E}">
        <p14:creationId xmlns:p14="http://schemas.microsoft.com/office/powerpoint/2010/main" val="18633799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9051144" y="6522125"/>
            <a:ext cx="2378856" cy="123111"/>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tx1">
                    <a:alpha val="75000"/>
                  </a:schemeClr>
                </a:solidFill>
              </a:rPr>
              <a:t>Copyright © 2022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695324" y="380999"/>
            <a:ext cx="11115675" cy="443198"/>
          </a:xfrm>
          <a:prstGeom prst="rect">
            <a:avLst/>
          </a:prstGeom>
        </p:spPr>
        <p:txBody>
          <a:bodyPr vert="horz" wrap="square" lIns="0" tIns="0" rIns="0" bIns="0" rtlCol="0" anchor="t">
            <a:sp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695324" y="1379838"/>
            <a:ext cx="11115675" cy="1231106"/>
          </a:xfrm>
          <a:prstGeom prst="rect">
            <a:avLst/>
          </a:prstGeom>
        </p:spPr>
        <p:txBody>
          <a:bodyPr vert="horz" wrap="square" lIns="0" tIns="0" rIns="0" bIns="0" rtlCol="0">
            <a:spAutoFit/>
          </a:bodyPr>
          <a:lstStyle/>
          <a:p>
            <a:pPr lvl="0"/>
            <a:r>
              <a:rPr lang="en-US"/>
              <a:t>First level  </a:t>
            </a:r>
          </a:p>
          <a:p>
            <a:pPr lvl="1"/>
            <a:r>
              <a:rPr lang="en-US"/>
              <a:t>Second level  </a:t>
            </a:r>
          </a:p>
          <a:p>
            <a:pPr lvl="2"/>
            <a:r>
              <a:rPr lang="en-US"/>
              <a:t>Third level  </a:t>
            </a:r>
          </a:p>
          <a:p>
            <a:pPr lvl="3"/>
            <a:r>
              <a:rPr lang="en-US"/>
              <a:t>Fourth level  </a:t>
            </a:r>
          </a:p>
          <a:p>
            <a:pPr lvl="4"/>
            <a:r>
              <a:rPr lang="en-US"/>
              <a:t>Fifth level  </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8, 2023</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
        <p:nvSpPr>
          <p:cNvPr id="8" name="Rectangle 7">
            <a:extLst>
              <a:ext uri="{FF2B5EF4-FFF2-40B4-BE49-F238E27FC236}">
                <a16:creationId xmlns:a16="http://schemas.microsoft.com/office/drawing/2014/main" id="{82C72EFE-4207-4890-9ABB-352794AA0CEF}"/>
              </a:ext>
            </a:extLst>
          </p:cNvPr>
          <p:cNvSpPr/>
          <p:nvPr userDrawn="1"/>
        </p:nvSpPr>
        <p:spPr>
          <a:xfrm>
            <a:off x="695324" y="6519625"/>
            <a:ext cx="1578958" cy="123111"/>
          </a:xfrm>
          <a:prstGeom prst="rect">
            <a:avLst/>
          </a:prstGeom>
          <a:noFill/>
        </p:spPr>
        <p:txBody>
          <a:bodyPr wrap="none" lIns="0" tIns="0" rIns="0" bIns="0" rtlCol="0" anchor="ctr">
            <a:spAutoFit/>
          </a:bodyPr>
          <a:lstStyle/>
          <a:p>
            <a:pPr marR="0" lvl="0" indent="0" algn="l" defTabSz="228600" fontAlgn="auto">
              <a:lnSpc>
                <a:spcPct val="100000"/>
              </a:lnSpc>
              <a:spcBef>
                <a:spcPts val="0"/>
              </a:spcBef>
              <a:spcAft>
                <a:spcPts val="1200"/>
              </a:spcAft>
              <a:buClrTx/>
              <a:buSzTx/>
              <a:buFontTx/>
              <a:buNone/>
              <a:tabLst/>
            </a:pPr>
            <a:r>
              <a:rPr lang="en-GB" sz="800" noProof="0">
                <a:solidFill>
                  <a:schemeClr val="tx1">
                    <a:alpha val="75000"/>
                  </a:schemeClr>
                </a:solidFill>
              </a:rPr>
              <a:t>Enterprise Technology Blueprint</a:t>
            </a:r>
            <a:endParaRPr lang="en-US" sz="800" noProof="0">
              <a:solidFill>
                <a:schemeClr val="tx1">
                  <a:alpha val="75000"/>
                </a:schemeClr>
              </a:solidFill>
            </a:endParaRPr>
          </a:p>
        </p:txBody>
      </p:sp>
    </p:spTree>
    <p:extLst>
      <p:ext uri="{BB962C8B-B14F-4D97-AF65-F5344CB8AC3E}">
        <p14:creationId xmlns:p14="http://schemas.microsoft.com/office/powerpoint/2010/main" val="286210591"/>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671" r:id="rId3"/>
    <p:sldLayoutId id="2147483672" r:id="rId4"/>
    <p:sldLayoutId id="2147483673" r:id="rId5"/>
    <p:sldLayoutId id="2147483869" r:id="rId6"/>
    <p:sldLayoutId id="2147483872" r:id="rId7"/>
    <p:sldLayoutId id="2147483873" r:id="rId8"/>
    <p:sldLayoutId id="2147483676" r:id="rId9"/>
    <p:sldLayoutId id="2147483677" r:id="rId10"/>
    <p:sldLayoutId id="2147483898" r:id="rId11"/>
    <p:sldLayoutId id="2147483878" r:id="rId12"/>
    <p:sldLayoutId id="2147483892" r:id="rId13"/>
    <p:sldLayoutId id="2147483893" r:id="rId14"/>
    <p:sldLayoutId id="2147483899" r:id="rId15"/>
    <p:sldLayoutId id="2147483894" r:id="rId16"/>
    <p:sldLayoutId id="2147483900" r:id="rId17"/>
    <p:sldLayoutId id="2147483895" r:id="rId18"/>
    <p:sldLayoutId id="2147483901" r:id="rId19"/>
    <p:sldLayoutId id="2147483896" r:id="rId20"/>
    <p:sldLayoutId id="2147483902" r:id="rId21"/>
    <p:sldLayoutId id="2147483897" r:id="rId22"/>
    <p:sldLayoutId id="2147483903" r:id="rId23"/>
    <p:sldLayoutId id="2147483876" r:id="rId24"/>
    <p:sldLayoutId id="2147483877" r:id="rId25"/>
    <p:sldLayoutId id="2147483971" r:id="rId26"/>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guide id="6" pos="438">
          <p15:clr>
            <a:srgbClr val="5ACBF0"/>
          </p15:clr>
        </p15:guide>
        <p15:guide id="7" orient="horz" pos="867">
          <p15:clr>
            <a:srgbClr val="5ACBF0"/>
          </p15:clr>
        </p15:guide>
        <p15:guide id="8" orient="horz" pos="618">
          <p15:clr>
            <a:srgbClr val="5ACBF0"/>
          </p15:clr>
        </p15:guide>
        <p15:guide id="9" pos="7197">
          <p15:clr>
            <a:srgbClr val="5ACBF0"/>
          </p15:clr>
        </p15:guide>
        <p15:guide id="10" pos="371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9051144" y="6522125"/>
            <a:ext cx="2378856" cy="123111"/>
          </a:xfrm>
          <a:prstGeom prst="rect">
            <a:avLst/>
          </a:prstGeom>
          <a:noFill/>
        </p:spPr>
        <p:txBody>
          <a:bodyPr wrap="none" lIns="0" tIns="0" rIns="0" bIns="0" rtlCol="0" anchor="ctr">
            <a:sp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tx1">
                    <a:alpha val="75000"/>
                  </a:schemeClr>
                </a:solidFill>
              </a:rPr>
              <a:t>Copyright © 2022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695324" y="380999"/>
            <a:ext cx="11115675" cy="443198"/>
          </a:xfrm>
          <a:prstGeom prst="rect">
            <a:avLst/>
          </a:prstGeom>
        </p:spPr>
        <p:txBody>
          <a:bodyPr vert="horz" wrap="square" lIns="0" tIns="0" rIns="0" bIns="0" rtlCol="0" anchor="t">
            <a:sp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695324" y="1379838"/>
            <a:ext cx="11115675" cy="1231106"/>
          </a:xfrm>
          <a:prstGeom prst="rect">
            <a:avLst/>
          </a:prstGeom>
        </p:spPr>
        <p:txBody>
          <a:bodyPr vert="horz" wrap="square" lIns="0" tIns="0" rIns="0" bIns="0" rtlCol="0">
            <a:spAutoFit/>
          </a:bodyPr>
          <a:lstStyle/>
          <a:p>
            <a:pPr lvl="0"/>
            <a:r>
              <a:rPr lang="en-US"/>
              <a:t>First level  </a:t>
            </a:r>
          </a:p>
          <a:p>
            <a:pPr lvl="1"/>
            <a:r>
              <a:rPr lang="en-US"/>
              <a:t>Second level  </a:t>
            </a:r>
          </a:p>
          <a:p>
            <a:pPr lvl="2"/>
            <a:r>
              <a:rPr lang="en-US"/>
              <a:t>Third level  </a:t>
            </a:r>
          </a:p>
          <a:p>
            <a:pPr lvl="3"/>
            <a:r>
              <a:rPr lang="en-US"/>
              <a:t>Fourth level  </a:t>
            </a:r>
          </a:p>
          <a:p>
            <a:pPr lvl="4"/>
            <a:r>
              <a:rPr lang="en-US"/>
              <a:t>Fifth level  </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8, 2023</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
        <p:nvSpPr>
          <p:cNvPr id="8" name="Rectangle 7">
            <a:extLst>
              <a:ext uri="{FF2B5EF4-FFF2-40B4-BE49-F238E27FC236}">
                <a16:creationId xmlns:a16="http://schemas.microsoft.com/office/drawing/2014/main" id="{82C72EFE-4207-4890-9ABB-352794AA0CEF}"/>
              </a:ext>
            </a:extLst>
          </p:cNvPr>
          <p:cNvSpPr/>
          <p:nvPr userDrawn="1"/>
        </p:nvSpPr>
        <p:spPr>
          <a:xfrm>
            <a:off x="695324" y="6519625"/>
            <a:ext cx="1578958" cy="123111"/>
          </a:xfrm>
          <a:prstGeom prst="rect">
            <a:avLst/>
          </a:prstGeom>
          <a:noFill/>
        </p:spPr>
        <p:txBody>
          <a:bodyPr wrap="none" lIns="0" tIns="0" rIns="0" bIns="0" rtlCol="0" anchor="ctr">
            <a:spAutoFit/>
          </a:bodyPr>
          <a:lstStyle/>
          <a:p>
            <a:pPr marR="0" lvl="0" indent="0" algn="l" defTabSz="228600" fontAlgn="auto">
              <a:lnSpc>
                <a:spcPct val="100000"/>
              </a:lnSpc>
              <a:spcBef>
                <a:spcPts val="0"/>
              </a:spcBef>
              <a:spcAft>
                <a:spcPts val="1200"/>
              </a:spcAft>
              <a:buClrTx/>
              <a:buSzTx/>
              <a:buFontTx/>
              <a:buNone/>
              <a:tabLst/>
            </a:pPr>
            <a:r>
              <a:rPr lang="en-GB" sz="800" noProof="0">
                <a:solidFill>
                  <a:schemeClr val="tx1">
                    <a:alpha val="75000"/>
                  </a:schemeClr>
                </a:solidFill>
              </a:rPr>
              <a:t>Enterprise Technology Blueprint</a:t>
            </a:r>
            <a:endParaRPr lang="en-US" sz="800" noProof="0">
              <a:solidFill>
                <a:schemeClr val="tx1">
                  <a:alpha val="75000"/>
                </a:schemeClr>
              </a:solidFill>
            </a:endParaRPr>
          </a:p>
        </p:txBody>
      </p:sp>
    </p:spTree>
    <p:extLst>
      <p:ext uri="{BB962C8B-B14F-4D97-AF65-F5344CB8AC3E}">
        <p14:creationId xmlns:p14="http://schemas.microsoft.com/office/powerpoint/2010/main" val="99584796"/>
      </p:ext>
    </p:extLst>
  </p:cSld>
  <p:clrMap bg1="lt1" tx1="dk1" bg2="lt2" tx2="dk2" accent1="accent1" accent2="accent2" accent3="accent3" accent4="accent4" accent5="accent5" accent6="accent6" hlink="hlink" folHlink="folHlink"/>
  <p:sldLayoutIdLst>
    <p:sldLayoutId id="2147483886" r:id="rId1"/>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guide id="6" pos="438">
          <p15:clr>
            <a:srgbClr val="5ACBF0"/>
          </p15:clr>
        </p15:guide>
        <p15:guide id="7" orient="horz" pos="867">
          <p15:clr>
            <a:srgbClr val="5ACBF0"/>
          </p15:clr>
        </p15:guide>
        <p15:guide id="8" orient="horz" pos="618">
          <p15:clr>
            <a:srgbClr val="5ACBF0"/>
          </p15:clr>
        </p15:guide>
        <p15:guide id="9" pos="7197">
          <p15:clr>
            <a:srgbClr val="5ACBF0"/>
          </p15:clr>
        </p15:guide>
        <p15:guide id="10" pos="384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AB255E-BD2F-48CA-BF2F-E8323F2AEA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F8929F6-C100-48EF-B4FB-0AA08055B7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F84186-9B0D-42FF-9405-80376E6E82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A16C74-BFE2-4F40-891E-CC633A5A9E46}" type="datetimeFigureOut">
              <a:rPr lang="en-US" smtClean="0"/>
              <a:t>11/8/2023</a:t>
            </a:fld>
            <a:endParaRPr lang="en-US"/>
          </a:p>
        </p:txBody>
      </p:sp>
      <p:sp>
        <p:nvSpPr>
          <p:cNvPr id="5" name="Footer Placeholder 4">
            <a:extLst>
              <a:ext uri="{FF2B5EF4-FFF2-40B4-BE49-F238E27FC236}">
                <a16:creationId xmlns:a16="http://schemas.microsoft.com/office/drawing/2014/main" id="{3FB9F7E0-9410-4D9F-A3D6-E26B04AEF1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DECCDB-E800-44ED-B679-70BEF47323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288A74-C48A-4370-A928-69B23542412B}" type="slidenum">
              <a:rPr lang="en-US" smtClean="0"/>
              <a:t>‹#›</a:t>
            </a:fld>
            <a:endParaRPr lang="en-US"/>
          </a:p>
        </p:txBody>
      </p:sp>
    </p:spTree>
    <p:extLst>
      <p:ext uri="{BB962C8B-B14F-4D97-AF65-F5344CB8AC3E}">
        <p14:creationId xmlns:p14="http://schemas.microsoft.com/office/powerpoint/2010/main" val="1343582804"/>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2.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hyperlink" Target="https://kxdocuments.accenture.com/contribution/a8912120-8316-4d96-8880-4fcd52cde18a" TargetMode="External"/></Relationships>
</file>

<file path=ppt/slides/_rels/slide26.xml.rels><?xml version="1.0" encoding="UTF-8" standalone="yes"?>
<Relationships xmlns="http://schemas.openxmlformats.org/package/2006/relationships"><Relationship Id="rId2" Type="http://schemas.openxmlformats.org/officeDocument/2006/relationships/hyperlink" Target="http://www.accenture.com/"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6.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3.xml"/><Relationship Id="rId17" Type="http://schemas.openxmlformats.org/officeDocument/2006/relationships/image" Target="../media/image20.png"/><Relationship Id="rId2" Type="http://schemas.openxmlformats.org/officeDocument/2006/relationships/tags" Target="../tags/tag3.xml"/><Relationship Id="rId16" Type="http://schemas.openxmlformats.org/officeDocument/2006/relationships/image" Target="../media/image19.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7.xml"/><Relationship Id="rId5" Type="http://schemas.openxmlformats.org/officeDocument/2006/relationships/tags" Target="../tags/tag6.xml"/><Relationship Id="rId15" Type="http://schemas.openxmlformats.org/officeDocument/2006/relationships/image" Target="../media/image18.png"/><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EFA3494-A8DC-4F73-9B02-7BC7E741F9E0}"/>
              </a:ext>
            </a:extLst>
          </p:cNvPr>
          <p:cNvSpPr>
            <a:spLocks noGrp="1"/>
          </p:cNvSpPr>
          <p:nvPr>
            <p:ph type="body" sz="quarter" idx="12"/>
          </p:nvPr>
        </p:nvSpPr>
        <p:spPr>
          <a:xfrm>
            <a:off x="747880" y="5352585"/>
            <a:ext cx="4114799" cy="469359"/>
          </a:xfrm>
        </p:spPr>
        <p:txBody>
          <a:bodyPr/>
          <a:lstStyle/>
          <a:p>
            <a:r>
              <a:rPr lang="en-US" dirty="0"/>
              <a:t>TS&amp;A Enterprise Architecture</a:t>
            </a:r>
          </a:p>
          <a:p>
            <a:r>
              <a:rPr lang="en-US" dirty="0"/>
              <a:t>V 1.0 | </a:t>
            </a:r>
            <a:r>
              <a:rPr lang="en-US" dirty="0">
                <a:latin typeface="Graphik Semibold" panose="020B0703030202060203" pitchFamily="34" charset="0"/>
              </a:rPr>
              <a:t>March 2022</a:t>
            </a:r>
          </a:p>
        </p:txBody>
      </p:sp>
      <p:sp>
        <p:nvSpPr>
          <p:cNvPr id="17" name="Title 2">
            <a:extLst>
              <a:ext uri="{FF2B5EF4-FFF2-40B4-BE49-F238E27FC236}">
                <a16:creationId xmlns:a16="http://schemas.microsoft.com/office/drawing/2014/main" id="{61B09AF5-0817-4B91-85DE-2C35C2C81BE5}"/>
              </a:ext>
            </a:extLst>
          </p:cNvPr>
          <p:cNvSpPr txBox="1">
            <a:spLocks/>
          </p:cNvSpPr>
          <p:nvPr/>
        </p:nvSpPr>
        <p:spPr>
          <a:xfrm>
            <a:off x="704851" y="5930544"/>
            <a:ext cx="6134100" cy="511345"/>
          </a:xfrm>
          <a:prstGeom prst="rect">
            <a:avLst/>
          </a:prstGeom>
        </p:spPr>
        <p:txBody>
          <a:bodyPr vert="horz" lIns="0" tIns="0" rIns="0" bIns="0" rtlCol="0" anchor="ctr">
            <a:noAutofit/>
          </a:bodyPr>
          <a:lstStyle>
            <a:lvl1pPr algn="l" defTabSz="914400" rtl="0" eaLnBrk="1" latinLnBrk="0" hangingPunct="1">
              <a:lnSpc>
                <a:spcPct val="8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Graphik"/>
              <a:ea typeface="+mj-ea"/>
              <a:cs typeface="+mj-cs"/>
            </a:endParaRPr>
          </a:p>
        </p:txBody>
      </p:sp>
      <p:pic>
        <p:nvPicPr>
          <p:cNvPr id="53" name="Graphic 52">
            <a:extLst>
              <a:ext uri="{FF2B5EF4-FFF2-40B4-BE49-F238E27FC236}">
                <a16:creationId xmlns:a16="http://schemas.microsoft.com/office/drawing/2014/main" id="{C93FE63C-66AA-413D-B089-CF541562057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4851" y="1036056"/>
            <a:ext cx="5136165" cy="3097920"/>
          </a:xfrm>
          <a:prstGeom prst="rect">
            <a:avLst/>
          </a:prstGeom>
        </p:spPr>
      </p:pic>
      <p:sp>
        <p:nvSpPr>
          <p:cNvPr id="56" name="Text Placeholder 11">
            <a:extLst>
              <a:ext uri="{FF2B5EF4-FFF2-40B4-BE49-F238E27FC236}">
                <a16:creationId xmlns:a16="http://schemas.microsoft.com/office/drawing/2014/main" id="{E3F8F829-7B49-4EC9-85B7-91E1C84E6D88}"/>
              </a:ext>
            </a:extLst>
          </p:cNvPr>
          <p:cNvSpPr txBox="1">
            <a:spLocks/>
          </p:cNvSpPr>
          <p:nvPr/>
        </p:nvSpPr>
        <p:spPr>
          <a:xfrm>
            <a:off x="747881" y="4754747"/>
            <a:ext cx="5102038" cy="901978"/>
          </a:xfrm>
          <a:prstGeom prst="rect">
            <a:avLst/>
          </a:prstGeom>
        </p:spPr>
        <p:txBody>
          <a:bodyPr vert="horz" wrap="none" lIns="0" tIns="0" rIns="0" bIns="0" rtlCol="0">
            <a:spAutoFit/>
          </a:bodyPr>
          <a:lstStyle>
            <a:lvl1pPr marL="11502" marR="4601" indent="0" algn="l" defTabSz="914400" rtl="0" eaLnBrk="1" latinLnBrk="0" hangingPunct="1">
              <a:lnSpc>
                <a:spcPct val="85000"/>
              </a:lnSpc>
              <a:spcBef>
                <a:spcPts val="842"/>
              </a:spcBef>
              <a:spcAft>
                <a:spcPts val="0"/>
              </a:spcAft>
              <a:buFont typeface="Arial" panose="020B0604020202020204" pitchFamily="34" charset="0"/>
              <a:buNone/>
              <a:defRPr lang="en-US" sz="2808" b="1" i="0" kern="1200" spc="-103" dirty="0">
                <a:solidFill>
                  <a:schemeClr val="tx1"/>
                </a:solidFill>
                <a:latin typeface="Graphik Semibold"/>
                <a:ea typeface="+mj-ea"/>
                <a:cs typeface="Graphik Semibold"/>
              </a:defRPr>
            </a:lvl1pPr>
            <a:lvl2pPr marL="457200" indent="0" algn="ctr" defTabSz="228600" rtl="0" eaLnBrk="1" latinLnBrk="0" hangingPunct="1">
              <a:lnSpc>
                <a:spcPct val="100000"/>
              </a:lnSpc>
              <a:spcBef>
                <a:spcPts val="0"/>
              </a:spcBef>
              <a:spcAft>
                <a:spcPts val="1200"/>
              </a:spcAft>
              <a:buClrTx/>
              <a:buFont typeface="Arial" panose="020B0604020202020204" pitchFamily="34" charset="0"/>
              <a:buNone/>
              <a:defRPr sz="2000" kern="1200">
                <a:solidFill>
                  <a:schemeClr val="tx1"/>
                </a:solidFill>
                <a:latin typeface="+mn-lt"/>
                <a:ea typeface="+mn-ea"/>
                <a:cs typeface="+mn-cs"/>
              </a:defRPr>
            </a:lvl2pPr>
            <a:lvl3pPr marL="914400" indent="0" algn="ctr" defTabSz="228600" rtl="0" eaLnBrk="1" latinLnBrk="0" hangingPunct="1">
              <a:lnSpc>
                <a:spcPct val="100000"/>
              </a:lnSpc>
              <a:spcBef>
                <a:spcPts val="0"/>
              </a:spcBef>
              <a:spcAft>
                <a:spcPts val="1200"/>
              </a:spcAft>
              <a:buFont typeface="System Font"/>
              <a:buNone/>
              <a:defRPr sz="1800" kern="1200">
                <a:solidFill>
                  <a:schemeClr val="tx1"/>
                </a:solidFill>
                <a:latin typeface="+mn-lt"/>
                <a:ea typeface="+mn-ea"/>
                <a:cs typeface="+mn-cs"/>
              </a:defRPr>
            </a:lvl3pPr>
            <a:lvl4pPr marL="1371600" indent="0" algn="ctr" defTabSz="228600" rtl="0" eaLnBrk="1" latinLnBrk="0" hangingPunct="1">
              <a:lnSpc>
                <a:spcPct val="10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4pPr>
            <a:lvl5pPr marL="1828800" indent="0" algn="ctr" defTabSz="228600" rtl="0" eaLnBrk="1" latinLnBrk="0" hangingPunct="1">
              <a:lnSpc>
                <a:spcPct val="100000"/>
              </a:lnSpc>
              <a:spcBef>
                <a:spcPts val="0"/>
              </a:spcBef>
              <a:spcAft>
                <a:spcPts val="1200"/>
              </a:spcAft>
              <a:buFont typeface="System Font"/>
              <a:buNone/>
              <a:defRPr sz="1600" kern="1200">
                <a:solidFill>
                  <a:schemeClr val="tx1"/>
                </a:solidFill>
                <a:latin typeface="+mn-lt"/>
                <a:ea typeface="+mn-ea"/>
                <a:cs typeface="+mn-cs"/>
              </a:defRPr>
            </a:lvl5pPr>
            <a:lvl6pPr marL="2286000" indent="0" algn="ctr"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2743200" indent="0" algn="ctr" defTabSz="228600" rtl="0" eaLnBrk="1" latinLnBrk="0" hangingPunct="1">
              <a:lnSpc>
                <a:spcPct val="9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7pPr>
            <a:lvl8pPr marL="3200400" indent="0" algn="ctr" defTabSz="228600"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600" indent="0" algn="ctr" defTabSz="228600" rtl="0" eaLnBrk="1" latinLnBrk="0" hangingPunct="1">
              <a:lnSpc>
                <a:spcPct val="90000"/>
              </a:lnSpc>
              <a:spcBef>
                <a:spcPts val="0"/>
              </a:spcBef>
              <a:spcAft>
                <a:spcPts val="1200"/>
              </a:spcAft>
              <a:buFont typeface="Arial" panose="020B0604020202020204" pitchFamily="34" charset="0"/>
              <a:buNone/>
              <a:defRPr sz="16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8" b="0" i="0" u="none" strike="noStrike" kern="1200" cap="none" spc="-103" normalizeH="0" baseline="0" noProof="0">
                <a:ln>
                  <a:noFill/>
                </a:ln>
                <a:solidFill>
                  <a:srgbClr val="FFFFFF"/>
                </a:solidFill>
                <a:effectLst/>
                <a:uLnTx/>
                <a:uFillTx/>
                <a:latin typeface="Graphik"/>
                <a:ea typeface="+mn-ea"/>
                <a:cs typeface="+mn-cs"/>
              </a:rPr>
              <a:t>Cloud | </a:t>
            </a:r>
            <a:r>
              <a:rPr lang="en-GB" b="0" dirty="0">
                <a:solidFill>
                  <a:srgbClr val="FFFFFF"/>
                </a:solidFill>
                <a:latin typeface="Graphik"/>
                <a:ea typeface="+mn-ea"/>
                <a:cs typeface="+mn-cs"/>
              </a:rPr>
              <a:t>Architecture Framework</a:t>
            </a:r>
            <a:endParaRPr lang="en-ZA" b="0" dirty="0">
              <a:solidFill>
                <a:srgbClr val="FFFFFF"/>
              </a:solidFill>
              <a:latin typeface="Graphik"/>
              <a:ea typeface="+mn-ea"/>
              <a:cs typeface="+mn-cs"/>
            </a:endParaRPr>
          </a:p>
          <a:p>
            <a:pPr marL="11502" marR="4601" lvl="0" indent="0" algn="l" defTabSz="914400" rtl="0" eaLnBrk="1" fontAlgn="auto" latinLnBrk="0" hangingPunct="1">
              <a:lnSpc>
                <a:spcPct val="85000"/>
              </a:lnSpc>
              <a:spcBef>
                <a:spcPts val="842"/>
              </a:spcBef>
              <a:spcAft>
                <a:spcPts val="0"/>
              </a:spcAft>
              <a:buClrTx/>
              <a:buSzTx/>
              <a:buFont typeface="Arial" panose="020B0604020202020204" pitchFamily="34" charset="0"/>
              <a:buNone/>
              <a:tabLst/>
              <a:defRPr/>
            </a:pPr>
            <a:endParaRPr kumimoji="0" lang="en-ZA" sz="2808" b="0" i="0" u="none" strike="noStrike" kern="1200" cap="none" spc="-103" normalizeH="0" baseline="0" noProof="0" dirty="0">
              <a:ln>
                <a:noFill/>
              </a:ln>
              <a:solidFill>
                <a:srgbClr val="FFFFFF"/>
              </a:solidFill>
              <a:effectLst/>
              <a:uLnTx/>
              <a:uFillTx/>
              <a:latin typeface="Graphik"/>
              <a:ea typeface="+mj-ea"/>
            </a:endParaRPr>
          </a:p>
        </p:txBody>
      </p:sp>
      <p:sp>
        <p:nvSpPr>
          <p:cNvPr id="16" name="Text Placeholder 11">
            <a:extLst>
              <a:ext uri="{FF2B5EF4-FFF2-40B4-BE49-F238E27FC236}">
                <a16:creationId xmlns:a16="http://schemas.microsoft.com/office/drawing/2014/main" id="{32AF2CD8-CABA-4DD5-B152-A7475949215D}"/>
              </a:ext>
            </a:extLst>
          </p:cNvPr>
          <p:cNvSpPr txBox="1">
            <a:spLocks/>
          </p:cNvSpPr>
          <p:nvPr/>
        </p:nvSpPr>
        <p:spPr>
          <a:xfrm>
            <a:off x="1" y="4158456"/>
            <a:ext cx="2664618" cy="443368"/>
          </a:xfrm>
          <a:prstGeom prst="rect">
            <a:avLst/>
          </a:prstGeom>
          <a:solidFill>
            <a:schemeClr val="tx1"/>
          </a:solidFill>
          <a:effectLst>
            <a:outerShdw blurRad="50800" dist="38100" dir="2700000" algn="tl" rotWithShape="0">
              <a:prstClr val="black">
                <a:alpha val="40000"/>
              </a:prstClr>
            </a:outerShdw>
          </a:effectLst>
        </p:spPr>
        <p:txBody>
          <a:bodyPr vert="horz" wrap="square" lIns="144000" tIns="108000" rIns="144000" bIns="72000" rtlCol="0" anchor="ctr">
            <a:spAutoFit/>
          </a:bodyPr>
          <a:lstStyle>
            <a:lvl1pPr marL="11502" marR="4601" indent="0" algn="l" defTabSz="914400" rtl="0" eaLnBrk="1" latinLnBrk="0" hangingPunct="1">
              <a:lnSpc>
                <a:spcPct val="85000"/>
              </a:lnSpc>
              <a:spcBef>
                <a:spcPts val="842"/>
              </a:spcBef>
              <a:spcAft>
                <a:spcPts val="0"/>
              </a:spcAft>
              <a:buFont typeface="Arial" panose="020B0604020202020204" pitchFamily="34" charset="0"/>
              <a:buNone/>
              <a:defRPr lang="en-US" sz="2800" b="0" i="0" kern="1200" spc="-103" dirty="0">
                <a:solidFill>
                  <a:schemeClr val="tx1"/>
                </a:solidFill>
                <a:latin typeface="Graphik Semibold"/>
                <a:ea typeface="+mj-ea"/>
                <a:cs typeface="Graphik Semibold"/>
              </a:defRPr>
            </a:lvl1pPr>
            <a:lvl2pPr marL="457200" indent="0" algn="ctr" defTabSz="228600" rtl="0" eaLnBrk="1" latinLnBrk="0" hangingPunct="1">
              <a:lnSpc>
                <a:spcPct val="100000"/>
              </a:lnSpc>
              <a:spcBef>
                <a:spcPts val="0"/>
              </a:spcBef>
              <a:spcAft>
                <a:spcPts val="1200"/>
              </a:spcAft>
              <a:buClrTx/>
              <a:buFont typeface="Arial" panose="020B0604020202020204" pitchFamily="34" charset="0"/>
              <a:buNone/>
              <a:defRPr sz="2000" kern="1200">
                <a:solidFill>
                  <a:schemeClr val="tx1"/>
                </a:solidFill>
                <a:latin typeface="+mn-lt"/>
                <a:ea typeface="+mn-ea"/>
                <a:cs typeface="+mn-cs"/>
              </a:defRPr>
            </a:lvl2pPr>
            <a:lvl3pPr marL="914400" indent="0" algn="ctr" defTabSz="228600" rtl="0" eaLnBrk="1" latinLnBrk="0" hangingPunct="1">
              <a:lnSpc>
                <a:spcPct val="100000"/>
              </a:lnSpc>
              <a:spcBef>
                <a:spcPts val="0"/>
              </a:spcBef>
              <a:spcAft>
                <a:spcPts val="1200"/>
              </a:spcAft>
              <a:buFont typeface="System Font"/>
              <a:buNone/>
              <a:defRPr sz="1800" kern="1200">
                <a:solidFill>
                  <a:schemeClr val="tx1"/>
                </a:solidFill>
                <a:latin typeface="+mn-lt"/>
                <a:ea typeface="+mn-ea"/>
                <a:cs typeface="+mn-cs"/>
              </a:defRPr>
            </a:lvl3pPr>
            <a:lvl4pPr marL="1371600" indent="0" algn="ctr" defTabSz="228600" rtl="0" eaLnBrk="1" latinLnBrk="0" hangingPunct="1">
              <a:lnSpc>
                <a:spcPct val="10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4pPr>
            <a:lvl5pPr marL="1828800" indent="0" algn="ctr" defTabSz="228600" rtl="0" eaLnBrk="1" latinLnBrk="0" hangingPunct="1">
              <a:lnSpc>
                <a:spcPct val="100000"/>
              </a:lnSpc>
              <a:spcBef>
                <a:spcPts val="0"/>
              </a:spcBef>
              <a:spcAft>
                <a:spcPts val="1200"/>
              </a:spcAft>
              <a:buFont typeface="System Font"/>
              <a:buNone/>
              <a:defRPr sz="1600" kern="1200">
                <a:solidFill>
                  <a:schemeClr val="tx1"/>
                </a:solidFill>
                <a:latin typeface="+mn-lt"/>
                <a:ea typeface="+mn-ea"/>
                <a:cs typeface="+mn-cs"/>
              </a:defRPr>
            </a:lvl5pPr>
            <a:lvl6pPr marL="2286000" indent="0" algn="ctr"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2743200" indent="0" algn="ctr" defTabSz="228600" rtl="0" eaLnBrk="1" latinLnBrk="0" hangingPunct="1">
              <a:lnSpc>
                <a:spcPct val="9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7pPr>
            <a:lvl8pPr marL="3200400" indent="0" algn="ctr" defTabSz="228600" rtl="0" eaLnBrk="1" latinLnBrk="0" hangingPunct="1">
              <a:lnSpc>
                <a:spcPct val="90000"/>
              </a:lnSpc>
              <a:spcBef>
                <a:spcPts val="0"/>
              </a:spcBef>
              <a:spcAft>
                <a:spcPts val="1200"/>
              </a:spcAft>
              <a:buFont typeface="Arial" panose="020B0604020202020204" pitchFamily="34" charset="0"/>
              <a:buNone/>
              <a:defRPr sz="1600" b="1" kern="1200">
                <a:solidFill>
                  <a:schemeClr val="tx1"/>
                </a:solidFill>
                <a:latin typeface="+mn-lt"/>
                <a:ea typeface="+mn-ea"/>
                <a:cs typeface="+mn-cs"/>
              </a:defRPr>
            </a:lvl8pPr>
            <a:lvl9pPr marL="3657600" indent="0" algn="ctr" defTabSz="228600" rtl="0" eaLnBrk="1" latinLnBrk="0" hangingPunct="1">
              <a:lnSpc>
                <a:spcPct val="90000"/>
              </a:lnSpc>
              <a:spcBef>
                <a:spcPts val="0"/>
              </a:spcBef>
              <a:spcAft>
                <a:spcPts val="1200"/>
              </a:spcAft>
              <a:buFont typeface="Arial" panose="020B0604020202020204" pitchFamily="34" charset="0"/>
              <a:buNone/>
              <a:defRPr sz="1600" kern="1200">
                <a:solidFill>
                  <a:schemeClr val="tx2"/>
                </a:solidFill>
                <a:latin typeface="+mn-lt"/>
                <a:ea typeface="+mn-ea"/>
                <a:cs typeface="+mn-cs"/>
              </a:defRPr>
            </a:lvl9pPr>
          </a:lstStyle>
          <a:p>
            <a:pPr marL="627063" marR="4601" lvl="0" indent="0" algn="l" defTabSz="914400" rtl="0" eaLnBrk="1" fontAlgn="auto" latinLnBrk="0" hangingPunct="1">
              <a:lnSpc>
                <a:spcPct val="85000"/>
              </a:lnSpc>
              <a:spcBef>
                <a:spcPts val="842"/>
              </a:spcBef>
              <a:spcAft>
                <a:spcPts val="0"/>
              </a:spcAft>
              <a:buClrTx/>
              <a:buSzTx/>
              <a:buFont typeface="Arial" panose="020B0604020202020204" pitchFamily="34" charset="0"/>
              <a:buNone/>
              <a:tabLst>
                <a:tab pos="627063" algn="l"/>
              </a:tabLst>
              <a:defRPr/>
            </a:pPr>
            <a:r>
              <a:rPr kumimoji="0" lang="en-GB" sz="2000" b="0" i="0" u="none" strike="noStrike" kern="1200" cap="none" spc="-103" normalizeH="0" baseline="0" noProof="0" dirty="0">
                <a:ln>
                  <a:noFill/>
                </a:ln>
                <a:solidFill>
                  <a:srgbClr val="A100FF"/>
                </a:solidFill>
                <a:effectLst/>
                <a:uLnTx/>
                <a:uFillTx/>
                <a:latin typeface="Graphik Semibold"/>
                <a:ea typeface="+mj-ea"/>
              </a:rPr>
              <a:t>     Chapter 3</a:t>
            </a:r>
          </a:p>
        </p:txBody>
      </p:sp>
      <p:cxnSp>
        <p:nvCxnSpPr>
          <p:cNvPr id="18" name="Straight Connector 17">
            <a:extLst>
              <a:ext uri="{FF2B5EF4-FFF2-40B4-BE49-F238E27FC236}">
                <a16:creationId xmlns:a16="http://schemas.microsoft.com/office/drawing/2014/main" id="{F2EA8BB5-6A51-41EE-ABFD-EA42890E197B}"/>
              </a:ext>
            </a:extLst>
          </p:cNvPr>
          <p:cNvCxnSpPr>
            <a:cxnSpLocks/>
          </p:cNvCxnSpPr>
          <p:nvPr/>
        </p:nvCxnSpPr>
        <p:spPr>
          <a:xfrm>
            <a:off x="814387" y="4199165"/>
            <a:ext cx="0" cy="36195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046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a:solidFill>
                  <a:schemeClr val="accent1"/>
                </a:solidFill>
              </a:rPr>
              <a:t>0. </a:t>
            </a:r>
            <a:r>
              <a:rPr kumimoji="0" lang="en-US" sz="1400" b="1" i="0" u="none" strike="noStrike" kern="1200" cap="none" spc="0" normalizeH="0" baseline="0" noProof="0">
                <a:ln>
                  <a:noFill/>
                </a:ln>
                <a:solidFill>
                  <a:schemeClr val="accent1"/>
                </a:solidFill>
                <a:effectLst/>
                <a:uLnTx/>
                <a:uFillTx/>
                <a:latin typeface="Graphik" panose="020B0503030202060203" pitchFamily="34" charset="0"/>
                <a:ea typeface="+mn-ea"/>
                <a:cs typeface="+mn-cs"/>
              </a:rPr>
              <a:t>Cloud Organization &amp; Operating Model  Enablers</a:t>
            </a:r>
            <a:r>
              <a:rPr lang="en-US" b="1">
                <a:solidFill>
                  <a:schemeClr val="accent1"/>
                </a:solidFill>
              </a:rPr>
              <a:t> (3/4)</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4" y="1440443"/>
            <a:ext cx="3086099" cy="452437"/>
          </a:xfrm>
        </p:spPr>
        <p:txBody>
          <a:bodyPr>
            <a:normAutofit/>
          </a:bodyPr>
          <a:lstStyle/>
          <a:p>
            <a:r>
              <a:rPr lang="en-US"/>
              <a:t>0.3 </a:t>
            </a:r>
            <a:r>
              <a:rPr kumimoji="0" lang="en-US" sz="12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Cloud Portfolio and Demand Mgmt.</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742961"/>
            <a:ext cx="3429000"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1884667"/>
            <a:ext cx="1107704"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3.1 Business Relationship &amp; Change Mgmt.</a:t>
            </a:r>
          </a:p>
        </p:txBody>
      </p:sp>
      <p:sp>
        <p:nvSpPr>
          <p:cNvPr id="23" name="Rectangle 22">
            <a:extLst>
              <a:ext uri="{FF2B5EF4-FFF2-40B4-BE49-F238E27FC236}">
                <a16:creationId xmlns:a16="http://schemas.microsoft.com/office/drawing/2014/main" id="{1C06B414-FC51-41C8-8FB0-3B8CBF313D11}"/>
              </a:ext>
            </a:extLst>
          </p:cNvPr>
          <p:cNvSpPr/>
          <p:nvPr/>
        </p:nvSpPr>
        <p:spPr>
          <a:xfrm>
            <a:off x="2045010"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3.2 Demand Mgmt.</a:t>
            </a:r>
          </a:p>
        </p:txBody>
      </p:sp>
      <p:sp>
        <p:nvSpPr>
          <p:cNvPr id="26" name="Rectangle 25">
            <a:extLst>
              <a:ext uri="{FF2B5EF4-FFF2-40B4-BE49-F238E27FC236}">
                <a16:creationId xmlns:a16="http://schemas.microsoft.com/office/drawing/2014/main" id="{4F7FFED5-22BA-47DE-898F-A456A970819E}"/>
              </a:ext>
            </a:extLst>
          </p:cNvPr>
          <p:cNvSpPr/>
          <p:nvPr/>
        </p:nvSpPr>
        <p:spPr>
          <a:xfrm>
            <a:off x="3083686"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3.3 Service Portfolio Mgmt.</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2586572184"/>
              </p:ext>
            </p:extLst>
          </p:nvPr>
        </p:nvGraphicFramePr>
        <p:xfrm>
          <a:off x="695325" y="2732659"/>
          <a:ext cx="10729912" cy="19644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367775">
                  <a:extLst>
                    <a:ext uri="{9D8B030D-6E8A-4147-A177-3AD203B41FA5}">
                      <a16:colId xmlns:a16="http://schemas.microsoft.com/office/drawing/2014/main" val="20001"/>
                    </a:ext>
                  </a:extLst>
                </a:gridCol>
                <a:gridCol w="6777037">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3">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r>
                        <a:rPr lang="en-US" sz="1000">
                          <a:latin typeface="+mn-lt"/>
                        </a:rPr>
                        <a:t>0.3 </a:t>
                      </a:r>
                      <a:r>
                        <a:rPr kumimoji="0" lang="en-US" sz="1000" b="1" i="0" u="none" strike="noStrike" kern="1200" cap="none" spc="0" normalizeH="0" baseline="0" noProof="0">
                          <a:ln>
                            <a:noFill/>
                          </a:ln>
                          <a:solidFill>
                            <a:prstClr val="black"/>
                          </a:solidFill>
                          <a:effectLst/>
                          <a:uLnTx/>
                          <a:uFillTx/>
                          <a:latin typeface="+mn-lt"/>
                          <a:ea typeface=""/>
                          <a:cs typeface=""/>
                        </a:rPr>
                        <a:t>Cloud Portfolio and Demand Mgmt.</a:t>
                      </a:r>
                      <a:endParaRPr lang="en-US" sz="1000">
                        <a:latin typeface="+mn-lt"/>
                      </a:endParaRPr>
                    </a:p>
                  </a:txBody>
                  <a:tcPr marL="72000" marR="72000" marT="36000" marB="36000"/>
                </a:tc>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mn-lt"/>
                          <a:ea typeface="+mn-ea"/>
                          <a:cs typeface="+mn-cs"/>
                        </a:rPr>
                        <a:t>0.3.1 Business Relationship &amp; Change Mgmt.</a:t>
                      </a: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r>
                        <a:rPr lang="en-GB" sz="1000" b="0" i="0" kern="1200">
                          <a:solidFill>
                            <a:schemeClr val="tx1"/>
                          </a:solidFill>
                          <a:latin typeface="+mn-lt"/>
                          <a:ea typeface="+mn-ea"/>
                          <a:cs typeface="+mn-cs"/>
                        </a:rPr>
                        <a:t>Act as a single point of contact for the Cloud consumers, communicating cloud service offerings and benefits, partnering to identify gaps, areas for improvement, risks, and challenges, collecting formal and informal feedback</a:t>
                      </a:r>
                      <a:r>
                        <a:rPr lang="en-US" sz="1000" b="0" i="0" kern="1200">
                          <a:solidFill>
                            <a:schemeClr val="tx1"/>
                          </a:solidFill>
                          <a:latin typeface="+mn-lt"/>
                          <a:ea typeface="+mn-ea"/>
                          <a:cs typeface="+mn-cs"/>
                        </a:rPr>
                        <a:t>. Ensure that proposed changes are controlled, monitored and implemented with minimal disruption to service delivery. </a:t>
                      </a:r>
                      <a:r>
                        <a:rPr lang="en-GB" sz="1000" b="0" i="0" kern="1200">
                          <a:solidFill>
                            <a:schemeClr val="tx1"/>
                          </a:solidFill>
                          <a:latin typeface="+mn-lt"/>
                          <a:ea typeface="+mn-ea"/>
                          <a:cs typeface="+mn-cs"/>
                        </a:rPr>
                        <a:t>Leverage automation for planning, tracking, and delivering planned changes as much as possible/practical. Detect and manage unauthorized changes.</a:t>
                      </a:r>
                      <a:endParaRPr lang="en-US" sz="1000" b="0" i="0" kern="1200">
                        <a:solidFill>
                          <a:schemeClr val="tx1"/>
                        </a:solidFill>
                        <a:latin typeface="+mn-lt"/>
                        <a:ea typeface="+mn-ea"/>
                        <a:cs typeface="+mn-cs"/>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mn-lt"/>
                          <a:ea typeface="+mn-ea"/>
                          <a:cs typeface="+mn-cs"/>
                        </a:rPr>
                        <a:t>0.3.2 Demand Mgmt.</a:t>
                      </a:r>
                    </a:p>
                  </a:txBody>
                  <a:tcPr marL="72000" marR="72000" marT="36000" marB="36000"/>
                </a:tc>
                <a:tc>
                  <a:txBody>
                    <a:bodyPr/>
                    <a:lstStyle/>
                    <a:p>
                      <a:pPr algn="l" fontAlgn="b"/>
                      <a:r>
                        <a:rPr lang="en-US" sz="1000" b="0" i="0" kern="1200">
                          <a:solidFill>
                            <a:schemeClr val="tx1"/>
                          </a:solidFill>
                          <a:latin typeface="+mn-lt"/>
                          <a:ea typeface="+mn-ea"/>
                          <a:cs typeface="+mn-cs"/>
                        </a:rPr>
                        <a:t>Proactively </a:t>
                      </a:r>
                      <a:r>
                        <a:rPr lang="en-GB" sz="1000" b="0" i="0" kern="1200">
                          <a:solidFill>
                            <a:schemeClr val="tx1"/>
                          </a:solidFill>
                          <a:latin typeface="+mn-lt"/>
                          <a:ea typeface="+mn-ea"/>
                          <a:cs typeface="+mn-cs"/>
                        </a:rPr>
                        <a:t>understand Cloud consumer demand (including future requirements and demand for new services not available currently), manage the demand pipeline, understand budget and investment implications and communicate new service requirements and enhancements to the Architecture and Services team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prstClr val="black"/>
                          </a:solidFill>
                          <a:effectLst/>
                          <a:uLnTx/>
                          <a:uFillTx/>
                          <a:latin typeface="+mn-lt"/>
                          <a:ea typeface="+mn-ea"/>
                          <a:cs typeface="+mn-cs"/>
                        </a:rPr>
                        <a:t>0.3.3 Service Portfolio Mgmt.</a:t>
                      </a:r>
                    </a:p>
                  </a:txBody>
                  <a:tcPr marL="72000" marR="72000" marT="36000" marB="36000"/>
                </a:tc>
                <a:tc>
                  <a:txBody>
                    <a:bodyPr/>
                    <a:lstStyle/>
                    <a:p>
                      <a:pPr marL="0" marR="0" lvl="0" indent="0" algn="l" defTabSz="914126"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000" i="0" kern="0">
                          <a:solidFill>
                            <a:schemeClr val="tx1"/>
                          </a:solidFill>
                          <a:latin typeface="+mn-lt"/>
                          <a:ea typeface="+mn-ea"/>
                          <a:cs typeface="Arial" panose="020B0604020202020204" pitchFamily="34" charset="0"/>
                        </a:rPr>
                        <a:t>Deliver committed portfolio of services within agreed constraints, including service roadmaps, tracking usage, overseeing delivery, defining potential improvement opportunities and manage services through their end-to-end lifecycle, including deprecation of services. </a:t>
                      </a:r>
                      <a:endParaRPr lang="en-US" sz="1000" kern="1200">
                        <a:solidFill>
                          <a:schemeClr val="tx1"/>
                        </a:solidFill>
                        <a:latin typeface="+mn-lt"/>
                        <a:ea typeface=""/>
                        <a:cs typeface=""/>
                      </a:endParaRPr>
                    </a:p>
                  </a:txBody>
                  <a:tcPr marL="72000" marR="72000" marT="36000" marB="36000" anchor="ctr"/>
                </a:tc>
                <a:extLst>
                  <a:ext uri="{0D108BD9-81ED-4DB2-BD59-A6C34878D82A}">
                    <a16:rowId xmlns:a16="http://schemas.microsoft.com/office/drawing/2014/main" val="2749173880"/>
                  </a:ext>
                </a:extLst>
              </a:tr>
            </a:tbl>
          </a:graphicData>
        </a:graphic>
      </p:graphicFrame>
    </p:spTree>
    <p:extLst>
      <p:ext uri="{BB962C8B-B14F-4D97-AF65-F5344CB8AC3E}">
        <p14:creationId xmlns:p14="http://schemas.microsoft.com/office/powerpoint/2010/main" val="1461060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a:solidFill>
                  <a:schemeClr val="accent1"/>
                </a:solidFill>
              </a:rPr>
              <a:t>0. </a:t>
            </a:r>
            <a:r>
              <a:rPr kumimoji="0" lang="en-US" sz="1400" b="1" i="0" u="none" strike="noStrike" kern="1200" cap="none" spc="0" normalizeH="0" baseline="0" noProof="0">
                <a:ln>
                  <a:noFill/>
                </a:ln>
                <a:solidFill>
                  <a:schemeClr val="accent1"/>
                </a:solidFill>
                <a:effectLst/>
                <a:uLnTx/>
                <a:uFillTx/>
                <a:latin typeface="Graphik" panose="020B0503030202060203" pitchFamily="34" charset="0"/>
                <a:ea typeface="+mn-ea"/>
                <a:cs typeface="+mn-cs"/>
              </a:rPr>
              <a:t>Cloud Organization &amp; Operating Model  Enablers</a:t>
            </a:r>
            <a:r>
              <a:rPr lang="en-US" b="1">
                <a:solidFill>
                  <a:schemeClr val="accent1"/>
                </a:solidFill>
              </a:rPr>
              <a:t> (4/4)</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4" y="1440443"/>
            <a:ext cx="3086099" cy="452437"/>
          </a:xfrm>
        </p:spPr>
        <p:txBody>
          <a:bodyPr>
            <a:norm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0.4 Cloud Mgmt. Governance</a:t>
            </a:r>
          </a:p>
        </p:txBody>
      </p:sp>
      <p:sp>
        <p:nvSpPr>
          <p:cNvPr id="13" name="Rectangle 12">
            <a:extLst>
              <a:ext uri="{FF2B5EF4-FFF2-40B4-BE49-F238E27FC236}">
                <a16:creationId xmlns:a16="http://schemas.microsoft.com/office/drawing/2014/main" id="{A2A2B339-34D0-4E4C-A64A-1D4F53CF4E1E}"/>
              </a:ext>
            </a:extLst>
          </p:cNvPr>
          <p:cNvSpPr/>
          <p:nvPr/>
        </p:nvSpPr>
        <p:spPr>
          <a:xfrm>
            <a:off x="695324" y="1742961"/>
            <a:ext cx="4482604"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0.4.1 Cloud FinOps</a:t>
            </a:r>
          </a:p>
        </p:txBody>
      </p:sp>
      <p:sp>
        <p:nvSpPr>
          <p:cNvPr id="23" name="Rectangle 22">
            <a:extLst>
              <a:ext uri="{FF2B5EF4-FFF2-40B4-BE49-F238E27FC236}">
                <a16:creationId xmlns:a16="http://schemas.microsoft.com/office/drawing/2014/main" id="{1C06B414-FC51-41C8-8FB0-3B8CBF313D11}"/>
              </a:ext>
            </a:extLst>
          </p:cNvPr>
          <p:cNvSpPr/>
          <p:nvPr/>
        </p:nvSpPr>
        <p:spPr>
          <a:xfrm>
            <a:off x="1928356"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0.4.2 Cloud Workforce Mgmt.</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3265406259"/>
              </p:ext>
            </p:extLst>
          </p:nvPr>
        </p:nvGraphicFramePr>
        <p:xfrm>
          <a:off x="695325" y="2732659"/>
          <a:ext cx="10729912" cy="237168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367775">
                  <a:extLst>
                    <a:ext uri="{9D8B030D-6E8A-4147-A177-3AD203B41FA5}">
                      <a16:colId xmlns:a16="http://schemas.microsoft.com/office/drawing/2014/main" val="20001"/>
                    </a:ext>
                  </a:extLst>
                </a:gridCol>
                <a:gridCol w="6777037">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2">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mn-lt"/>
                          <a:ea typeface=""/>
                          <a:cs typeface=""/>
                        </a:rPr>
                        <a:t>0.4 Cloud Mgmt. Governance</a:t>
                      </a:r>
                    </a:p>
                  </a:txBody>
                  <a:tcPr marL="72000" marR="72000" marT="36000" marB="36000"/>
                </a:tc>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0.4.1 Cloud FinOps</a:t>
                      </a: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r>
                        <a:rPr lang="en-GB" sz="1000" b="0" i="0" kern="1200">
                          <a:solidFill>
                            <a:schemeClr val="tx1"/>
                          </a:solidFill>
                          <a:latin typeface="+mn-lt"/>
                          <a:ea typeface="+mn-ea"/>
                          <a:cs typeface="+mn-cs"/>
                        </a:rPr>
                        <a:t>Shorthand for “Cloud Financial Operations” or “Cloud Financial Management” or “Cloud Cost Management”. Bringing financial accountability to the variable spend model of cloud, enabling distributed teams to make business trade-offs between speed, cost, and quality.</a:t>
                      </a: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mn-lt"/>
                          <a:ea typeface="+mn-ea"/>
                          <a:cs typeface="+mn-cs"/>
                        </a:rPr>
                        <a:t>0.4.2 Cloud Workforce Mgmt.</a:t>
                      </a:r>
                    </a:p>
                  </a:txBody>
                  <a:tcPr marL="72000" marR="72000" marT="36000" marB="36000"/>
                </a:tc>
                <a:tc>
                  <a:txBody>
                    <a:bodyPr/>
                    <a:lstStyle/>
                    <a:p>
                      <a:pPr algn="l" fontAlgn="b"/>
                      <a:r>
                        <a:rPr lang="en-GB" sz="1000" b="0" i="0" kern="1200">
                          <a:solidFill>
                            <a:schemeClr val="tx1"/>
                          </a:solidFill>
                          <a:latin typeface="+mn-lt"/>
                          <a:ea typeface="+mn-ea"/>
                          <a:cs typeface="+mn-cs"/>
                        </a:rPr>
                        <a:t>Map key workforce capabilities, roles, and responsibilities required for an efficiently functioning Cloud organisation; facilitate recruitment process; build cloud community; ensure appropriate compensation structure and rewards / recognitions are in place; establish performance management framework.  </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mn-lt"/>
                        <a:ea typeface=""/>
                        <a:cs typeface=""/>
                      </a:endParaRPr>
                    </a:p>
                  </a:txBody>
                  <a:tcPr marL="72000" marR="72000" marT="36000" marB="36000"/>
                </a:tc>
                <a:tc>
                  <a:txBody>
                    <a:bodyPr/>
                    <a:lstStyle/>
                    <a:p>
                      <a:pPr algn="l" fontAlgn="b"/>
                      <a:r>
                        <a:rPr kumimoji="0" lang="en-GB" sz="1000" b="0" i="0" u="none" strike="noStrike" kern="0" cap="none" spc="0" normalizeH="0" baseline="0" noProof="0">
                          <a:ln>
                            <a:noFill/>
                          </a:ln>
                          <a:solidFill>
                            <a:schemeClr val="tx1"/>
                          </a:solidFill>
                          <a:effectLst/>
                          <a:uLnTx/>
                          <a:uFillTx/>
                          <a:latin typeface="+mn-lt"/>
                          <a:ea typeface="+mn-ea"/>
                          <a:cs typeface="+mn-cs"/>
                        </a:rPr>
                        <a:t> 0.4.3 Cloud Arch Governance &amp; Advisory</a:t>
                      </a:r>
                      <a:endParaRPr kumimoji="0" lang="en-GB" sz="1100" b="0" i="0" u="none" strike="noStrike" kern="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algn="l" fontAlgn="b"/>
                      <a:r>
                        <a:rPr lang="en-GB" sz="1000" i="0" kern="1200">
                          <a:solidFill>
                            <a:schemeClr val="tx1"/>
                          </a:solidFill>
                          <a:latin typeface="+mn-lt"/>
                          <a:ea typeface="+mn-ea"/>
                          <a:cs typeface="+mn-cs"/>
                        </a:rPr>
                        <a:t>Define and maintain Cloud architecture governance framework in line with overall organisational technology governance. Promote adherence to defined principles, designs, standards, policies, patterns. </a:t>
                      </a:r>
                      <a:r>
                        <a:rPr lang="en-US" sz="1000" b="0" i="0" kern="0">
                          <a:solidFill>
                            <a:schemeClr val="tx1"/>
                          </a:solidFill>
                          <a:latin typeface="+mn-lt"/>
                          <a:ea typeface="+mn-ea"/>
                          <a:cs typeface="Arial" panose="020B0604020202020204" pitchFamily="34" charset="0"/>
                        </a:rPr>
                        <a:t>Provide guidance, best practices and advice to project teams / business units wanting to migrate their applications / workloads to the Cloud or build Cloud native applications.</a:t>
                      </a:r>
                      <a:r>
                        <a:rPr lang="en-US" sz="1000" i="0" kern="0">
                          <a:solidFill>
                            <a:schemeClr val="tx1"/>
                          </a:solidFill>
                          <a:latin typeface="+mn-lt"/>
                          <a:ea typeface="+mn-ea"/>
                          <a:cs typeface="Arial" panose="020B0604020202020204" pitchFamily="34" charset="0"/>
                        </a:rPr>
                        <a:t> </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40159418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mn-lt"/>
                        <a:ea typeface=""/>
                        <a:cs typeface=""/>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chemeClr val="tx1"/>
                          </a:solidFill>
                          <a:effectLst/>
                          <a:uLnTx/>
                          <a:uFillTx/>
                          <a:latin typeface="+mn-lt"/>
                          <a:ea typeface="+mn-ea"/>
                          <a:cs typeface="+mn-cs"/>
                        </a:rPr>
                        <a:t> 0.4.4 Cloud Environment Governance</a:t>
                      </a:r>
                      <a:endParaRPr kumimoji="0" lang="en-GB" sz="1400" b="0" i="0" u="none" strike="noStrike" kern="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algn="l" fontAlgn="b"/>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755956749"/>
                  </a:ext>
                </a:extLst>
              </a:tr>
            </a:tbl>
          </a:graphicData>
        </a:graphic>
      </p:graphicFrame>
      <p:sp>
        <p:nvSpPr>
          <p:cNvPr id="9" name="Rectangle 8">
            <a:extLst>
              <a:ext uri="{FF2B5EF4-FFF2-40B4-BE49-F238E27FC236}">
                <a16:creationId xmlns:a16="http://schemas.microsoft.com/office/drawing/2014/main" id="{3B64ABD3-ECE6-4275-AB46-5DC912253FFA}"/>
              </a:ext>
            </a:extLst>
          </p:cNvPr>
          <p:cNvSpPr/>
          <p:nvPr/>
        </p:nvSpPr>
        <p:spPr>
          <a:xfrm>
            <a:off x="2992693" y="1875358"/>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0.4.3 </a:t>
            </a:r>
            <a:r>
              <a:rPr lang="en-GB" sz="1000">
                <a:solidFill>
                  <a:schemeClr val="bg1"/>
                </a:solidFill>
                <a:latin typeface="Graphik" panose="020B0503030202060203" pitchFamily="34" charset="0"/>
              </a:rPr>
              <a:t>Cloud Arch Governance &amp; Advisory</a:t>
            </a:r>
            <a:endParaRPr lang="en-US" sz="1000">
              <a:solidFill>
                <a:schemeClr val="bg1"/>
              </a:solidFill>
              <a:latin typeface="Graphik" panose="020B0503030202060203" pitchFamily="34" charset="0"/>
            </a:endParaRPr>
          </a:p>
        </p:txBody>
      </p:sp>
      <p:sp>
        <p:nvSpPr>
          <p:cNvPr id="10" name="Rectangle 9">
            <a:extLst>
              <a:ext uri="{FF2B5EF4-FFF2-40B4-BE49-F238E27FC236}">
                <a16:creationId xmlns:a16="http://schemas.microsoft.com/office/drawing/2014/main" id="{C572F7D5-CCB1-4F03-873B-3A0FBD0FF3EA}"/>
              </a:ext>
            </a:extLst>
          </p:cNvPr>
          <p:cNvSpPr/>
          <p:nvPr/>
        </p:nvSpPr>
        <p:spPr>
          <a:xfrm>
            <a:off x="4057473"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0.4.4 </a:t>
            </a:r>
            <a:r>
              <a:rPr lang="en-GB" sz="1000">
                <a:solidFill>
                  <a:schemeClr val="bg1"/>
                </a:solidFill>
                <a:latin typeface="Graphik" panose="020B0503030202060203" pitchFamily="34" charset="0"/>
              </a:rPr>
              <a:t>Cloud Environment Governance</a:t>
            </a:r>
            <a:endParaRPr lang="en-US" sz="1000">
              <a:solidFill>
                <a:schemeClr val="bg1"/>
              </a:solidFill>
              <a:latin typeface="Graphik" panose="020B0503030202060203" pitchFamily="34" charset="0"/>
            </a:endParaRPr>
          </a:p>
        </p:txBody>
      </p:sp>
    </p:spTree>
    <p:extLst>
      <p:ext uri="{BB962C8B-B14F-4D97-AF65-F5344CB8AC3E}">
        <p14:creationId xmlns:p14="http://schemas.microsoft.com/office/powerpoint/2010/main" val="1384751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a:solidFill>
                  <a:schemeClr val="accent1"/>
                </a:solidFill>
                <a:latin typeface="Graphik" panose="020B0503030202060203" pitchFamily="34" charset="0"/>
              </a:rPr>
              <a:t>1. Cloud Management (1/1)</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4" y="1440443"/>
            <a:ext cx="3086099" cy="452437"/>
          </a:xfrm>
        </p:spPr>
        <p:txBody>
          <a:bodyPr>
            <a:normAutofit/>
          </a:bodyPr>
          <a:lstStyle/>
          <a:p>
            <a:r>
              <a:rPr lang="en-US"/>
              <a:t>1.1 </a:t>
            </a:r>
            <a:r>
              <a:rPr lang="en-US">
                <a:solidFill>
                  <a:prstClr val="black"/>
                </a:solidFill>
                <a:latin typeface="Graphik" panose="020B0503030202060203" pitchFamily="34" charset="0"/>
              </a:rPr>
              <a:t>Management &amp; Automation Services</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923936"/>
            <a:ext cx="7477125"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u="none" strike="noStrike">
                <a:solidFill>
                  <a:schemeClr val="bg1"/>
                </a:solidFill>
                <a:effectLst/>
                <a:latin typeface="+mn-lt"/>
              </a:rPr>
              <a:t>1.1.1 Network Monitoring</a:t>
            </a:r>
            <a:endParaRPr lang="en-US" sz="1000" b="0" i="0" u="none" strike="noStrike">
              <a:solidFill>
                <a:schemeClr val="bg1"/>
              </a:solidFill>
              <a:effectLst/>
              <a:latin typeface="+mn-lt"/>
            </a:endParaRPr>
          </a:p>
        </p:txBody>
      </p:sp>
      <p:sp>
        <p:nvSpPr>
          <p:cNvPr id="23" name="Rectangle 22">
            <a:extLst>
              <a:ext uri="{FF2B5EF4-FFF2-40B4-BE49-F238E27FC236}">
                <a16:creationId xmlns:a16="http://schemas.microsoft.com/office/drawing/2014/main" id="{1C06B414-FC51-41C8-8FB0-3B8CBF313D11}"/>
              </a:ext>
            </a:extLst>
          </p:cNvPr>
          <p:cNvSpPr/>
          <p:nvPr/>
        </p:nvSpPr>
        <p:spPr>
          <a:xfrm>
            <a:off x="189025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u="none" strike="noStrike">
                <a:solidFill>
                  <a:schemeClr val="bg1"/>
                </a:solidFill>
                <a:effectLst/>
                <a:latin typeface="+mn-lt"/>
              </a:rPr>
              <a:t>1.1.2 Resource Monitoring</a:t>
            </a:r>
            <a:endParaRPr lang="en-US" sz="1000" b="0" i="0" u="none" strike="noStrike">
              <a:solidFill>
                <a:schemeClr val="bg1"/>
              </a:solidFill>
              <a:effectLst/>
              <a:latin typeface="+mn-lt"/>
            </a:endParaRPr>
          </a:p>
        </p:txBody>
      </p:sp>
      <p:sp>
        <p:nvSpPr>
          <p:cNvPr id="24" name="Rectangle 23">
            <a:extLst>
              <a:ext uri="{FF2B5EF4-FFF2-40B4-BE49-F238E27FC236}">
                <a16:creationId xmlns:a16="http://schemas.microsoft.com/office/drawing/2014/main" id="{9E1844B7-E4AB-4C61-A35C-F15C132A6968}"/>
              </a:ext>
            </a:extLst>
          </p:cNvPr>
          <p:cNvSpPr/>
          <p:nvPr/>
        </p:nvSpPr>
        <p:spPr>
          <a:xfrm>
            <a:off x="6010152" y="206884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1.1.6 Exception Reporting</a:t>
            </a:r>
          </a:p>
        </p:txBody>
      </p:sp>
      <p:sp>
        <p:nvSpPr>
          <p:cNvPr id="25" name="Rectangle 24">
            <a:extLst>
              <a:ext uri="{FF2B5EF4-FFF2-40B4-BE49-F238E27FC236}">
                <a16:creationId xmlns:a16="http://schemas.microsoft.com/office/drawing/2014/main" id="{5C47D989-D963-4F76-AB4D-F9856F5B50AC}"/>
              </a:ext>
            </a:extLst>
          </p:cNvPr>
          <p:cNvSpPr/>
          <p:nvPr/>
        </p:nvSpPr>
        <p:spPr>
          <a:xfrm>
            <a:off x="7038595"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u="none" strike="noStrike">
                <a:solidFill>
                  <a:schemeClr val="bg1"/>
                </a:solidFill>
                <a:effectLst/>
                <a:latin typeface="+mn-lt"/>
              </a:rPr>
              <a:t>1.1.7 Service Catalog</a:t>
            </a:r>
            <a:endParaRPr lang="en-US" sz="1000">
              <a:solidFill>
                <a:schemeClr val="bg1"/>
              </a:solidFill>
              <a:latin typeface="Graphik" panose="020B0503030202060203" pitchFamily="34" charset="0"/>
            </a:endParaRPr>
          </a:p>
        </p:txBody>
      </p:sp>
      <p:sp>
        <p:nvSpPr>
          <p:cNvPr id="26" name="Rectangle 25">
            <a:extLst>
              <a:ext uri="{FF2B5EF4-FFF2-40B4-BE49-F238E27FC236}">
                <a16:creationId xmlns:a16="http://schemas.microsoft.com/office/drawing/2014/main" id="{4F7FFED5-22BA-47DE-898F-A456A970819E}"/>
              </a:ext>
            </a:extLst>
          </p:cNvPr>
          <p:cNvSpPr/>
          <p:nvPr/>
        </p:nvSpPr>
        <p:spPr>
          <a:xfrm>
            <a:off x="292176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1.1.3 Configuration Change Mgmt.</a:t>
            </a:r>
          </a:p>
        </p:txBody>
      </p:sp>
      <p:sp>
        <p:nvSpPr>
          <p:cNvPr id="27" name="Rectangle 26">
            <a:extLst>
              <a:ext uri="{FF2B5EF4-FFF2-40B4-BE49-F238E27FC236}">
                <a16:creationId xmlns:a16="http://schemas.microsoft.com/office/drawing/2014/main" id="{33A613B4-48EB-4627-B175-58670DFB733D}"/>
              </a:ext>
            </a:extLst>
          </p:cNvPr>
          <p:cNvSpPr/>
          <p:nvPr/>
        </p:nvSpPr>
        <p:spPr>
          <a:xfrm>
            <a:off x="395326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1.1.4 Cloud API Log Service</a:t>
            </a:r>
          </a:p>
        </p:txBody>
      </p:sp>
      <p:sp>
        <p:nvSpPr>
          <p:cNvPr id="29" name="Rectangle 28">
            <a:extLst>
              <a:ext uri="{FF2B5EF4-FFF2-40B4-BE49-F238E27FC236}">
                <a16:creationId xmlns:a16="http://schemas.microsoft.com/office/drawing/2014/main" id="{7D9E0D87-988B-41ED-A7F2-8BECCAA22274}"/>
              </a:ext>
            </a:extLst>
          </p:cNvPr>
          <p:cNvSpPr/>
          <p:nvPr/>
        </p:nvSpPr>
        <p:spPr>
          <a:xfrm>
            <a:off x="4981709"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1.1.5 Operations, Analytics &amp; Insights</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3383479452"/>
              </p:ext>
            </p:extLst>
          </p:nvPr>
        </p:nvGraphicFramePr>
        <p:xfrm>
          <a:off x="695325" y="3085084"/>
          <a:ext cx="10729912" cy="17952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644000">
                  <a:extLst>
                    <a:ext uri="{9D8B030D-6E8A-4147-A177-3AD203B41FA5}">
                      <a16:colId xmlns:a16="http://schemas.microsoft.com/office/drawing/2014/main" val="20001"/>
                    </a:ext>
                  </a:extLst>
                </a:gridCol>
                <a:gridCol w="6500812">
                  <a:extLst>
                    <a:ext uri="{9D8B030D-6E8A-4147-A177-3AD203B41FA5}">
                      <a16:colId xmlns:a16="http://schemas.microsoft.com/office/drawing/2014/main" val="20002"/>
                    </a:ext>
                  </a:extLst>
                </a:gridCol>
              </a:tblGrid>
              <a:tr h="144916">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7">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r>
                        <a:rPr lang="en-US" sz="1000">
                          <a:latin typeface="+mn-lt"/>
                        </a:rPr>
                        <a:t>1.1 Management &amp; Automation Services</a:t>
                      </a:r>
                    </a:p>
                  </a:txBody>
                  <a:tcPr marL="72000" marR="72000" marT="36000" marB="36000"/>
                </a:tc>
                <a:tc>
                  <a:txBody>
                    <a:bodyPr/>
                    <a:lstStyle/>
                    <a:p>
                      <a:pPr algn="l" fontAlgn="b"/>
                      <a:r>
                        <a:rPr lang="en-US" sz="1000" u="none" strike="noStrike">
                          <a:effectLst/>
                          <a:latin typeface="+mn-lt"/>
                        </a:rPr>
                        <a:t>1.1.1 Network Monitor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i="0" u="none" strike="noStrike">
                          <a:solidFill>
                            <a:srgbClr val="000000"/>
                          </a:solidFill>
                          <a:effectLst/>
                          <a:latin typeface="+mn-lt"/>
                        </a:rPr>
                        <a:t>Capture IP traffic information going to and from network interfaces</a:t>
                      </a: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1.1.2 Resource Monitor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i="0" u="none" strike="noStrike">
                          <a:solidFill>
                            <a:srgbClr val="000000"/>
                          </a:solidFill>
                          <a:effectLst/>
                          <a:latin typeface="+mn-lt"/>
                        </a:rPr>
                        <a:t>Tools for monitoring, tracking, and data collection of resources</a:t>
                      </a:r>
                    </a:p>
                  </a:txBody>
                  <a:tcPr marL="72000" marR="72000" marT="36000" marB="36000" anchor="ctr"/>
                </a:tc>
                <a:extLst>
                  <a:ext uri="{0D108BD9-81ED-4DB2-BD59-A6C34878D82A}">
                    <a16:rowId xmlns:a16="http://schemas.microsoft.com/office/drawing/2014/main" val="1334849182"/>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n-lt"/>
                        </a:rPr>
                        <a:t>1.1.3 Configuration Change Mgmt.</a:t>
                      </a:r>
                    </a:p>
                  </a:txBody>
                  <a:tcPr marL="72000" marR="72000" marT="36000" marB="36000"/>
                </a:tc>
                <a:tc>
                  <a:txBody>
                    <a:bodyPr/>
                    <a:lstStyle/>
                    <a:p>
                      <a:pPr algn="l" fontAlgn="b"/>
                      <a:r>
                        <a:rPr lang="en-US" sz="1000" b="0" i="0" u="none" strike="noStrike">
                          <a:solidFill>
                            <a:srgbClr val="000000"/>
                          </a:solidFill>
                          <a:effectLst/>
                          <a:latin typeface="+mn-lt"/>
                        </a:rPr>
                        <a:t>Ability to assess, audit, and evaluate configurations </a:t>
                      </a:r>
                    </a:p>
                  </a:txBody>
                  <a:tcPr marL="72000" marR="72000" marT="36000" marB="36000" anchor="ctr"/>
                </a:tc>
                <a:extLst>
                  <a:ext uri="{0D108BD9-81ED-4DB2-BD59-A6C34878D82A}">
                    <a16:rowId xmlns:a16="http://schemas.microsoft.com/office/drawing/2014/main" val="2749173880"/>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n-lt"/>
                        </a:rPr>
                        <a:t>1.1.4 Cloud API Log Service</a:t>
                      </a:r>
                    </a:p>
                  </a:txBody>
                  <a:tcPr marL="72000" marR="72000" marT="36000" marB="36000"/>
                </a:tc>
                <a:tc>
                  <a:txBody>
                    <a:bodyPr/>
                    <a:lstStyle/>
                    <a:p>
                      <a:pPr algn="l" fontAlgn="b"/>
                      <a:r>
                        <a:rPr lang="en-US" sz="1000" b="0" i="0" u="none" strike="noStrike">
                          <a:solidFill>
                            <a:srgbClr val="000000"/>
                          </a:solidFill>
                          <a:effectLst/>
                          <a:latin typeface="+mn-lt"/>
                        </a:rPr>
                        <a:t>Log and track user activity and API usage </a:t>
                      </a:r>
                    </a:p>
                  </a:txBody>
                  <a:tcPr marL="72000" marR="72000" marT="36000" marB="36000" anchor="ctr"/>
                </a:tc>
                <a:extLst>
                  <a:ext uri="{0D108BD9-81ED-4DB2-BD59-A6C34878D82A}">
                    <a16:rowId xmlns:a16="http://schemas.microsoft.com/office/drawing/2014/main" val="10002"/>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mn-lt"/>
                        </a:rPr>
                        <a:t>1.1.5 Operations, Analytics &amp; Insights</a:t>
                      </a:r>
                    </a:p>
                  </a:txBody>
                  <a:tcPr marL="72000" marR="72000" marT="36000" marB="36000"/>
                </a:tc>
                <a:tc>
                  <a:txBody>
                    <a:bodyPr/>
                    <a:lstStyle/>
                    <a:p>
                      <a:pPr algn="l" fontAlgn="b"/>
                      <a:r>
                        <a:rPr lang="en-US" sz="1000" b="0" i="0" u="none" strike="noStrike">
                          <a:solidFill>
                            <a:srgbClr val="000000"/>
                          </a:solidFill>
                          <a:effectLst/>
                          <a:latin typeface="+mn-lt"/>
                        </a:rPr>
                        <a:t>Monitoring of applications and infrastructure</a:t>
                      </a: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i="0" u="none" strike="noStrike">
                          <a:solidFill>
                            <a:srgbClr val="000000"/>
                          </a:solidFill>
                          <a:effectLst/>
                          <a:latin typeface="+mn-lt"/>
                        </a:rPr>
                        <a:t>1.1.6 Exception Reporting</a:t>
                      </a:r>
                    </a:p>
                  </a:txBody>
                  <a:tcPr marL="72000" marR="72000" marT="36000" marB="36000"/>
                </a:tc>
                <a:tc>
                  <a:txBody>
                    <a:bodyPr/>
                    <a:lstStyle/>
                    <a:p>
                      <a:pPr algn="l" fontAlgn="b"/>
                      <a:r>
                        <a:rPr lang="en-US" sz="1000" b="0" i="0" u="none" strike="noStrike">
                          <a:solidFill>
                            <a:srgbClr val="000000"/>
                          </a:solidFill>
                          <a:effectLst/>
                          <a:latin typeface="+mn-lt"/>
                        </a:rPr>
                        <a:t>Compliance, operational and risk auditing</a:t>
                      </a:r>
                    </a:p>
                  </a:txBody>
                  <a:tcPr marL="72000" marR="72000" marT="36000" marB="36000" anchor="ctr"/>
                </a:tc>
                <a:extLst>
                  <a:ext uri="{0D108BD9-81ED-4DB2-BD59-A6C34878D82A}">
                    <a16:rowId xmlns:a16="http://schemas.microsoft.com/office/drawing/2014/main" val="321156660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tc>
                <a:tc>
                  <a:txBody>
                    <a:bodyPr/>
                    <a:lstStyle/>
                    <a:p>
                      <a:pPr algn="l" fontAlgn="b"/>
                      <a:r>
                        <a:rPr lang="en-US" sz="1000" u="none" strike="noStrike">
                          <a:effectLst/>
                          <a:latin typeface="+mn-lt"/>
                        </a:rPr>
                        <a:t>1.1.7 Service Catalo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i="0" u="none" strike="noStrike">
                          <a:solidFill>
                            <a:srgbClr val="000000"/>
                          </a:solidFill>
                          <a:effectLst/>
                          <a:latin typeface="+mn-lt"/>
                        </a:rPr>
                        <a:t>Create and manage catalogs of approved IT services </a:t>
                      </a:r>
                    </a:p>
                  </a:txBody>
                  <a:tcPr marL="72000" marR="72000" marT="36000" marB="36000" anchor="ctr"/>
                </a:tc>
                <a:extLst>
                  <a:ext uri="{0D108BD9-81ED-4DB2-BD59-A6C34878D82A}">
                    <a16:rowId xmlns:a16="http://schemas.microsoft.com/office/drawing/2014/main" val="2068659586"/>
                  </a:ext>
                </a:extLst>
              </a:tr>
            </a:tbl>
          </a:graphicData>
        </a:graphic>
      </p:graphicFrame>
    </p:spTree>
    <p:extLst>
      <p:ext uri="{BB962C8B-B14F-4D97-AF65-F5344CB8AC3E}">
        <p14:creationId xmlns:p14="http://schemas.microsoft.com/office/powerpoint/2010/main" val="183759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114414"/>
            <a:ext cx="11115675" cy="215444"/>
          </a:xfrm>
        </p:spPr>
        <p:txBody>
          <a:bodyPr/>
          <a:lstStyle/>
          <a:p>
            <a:r>
              <a:rPr lang="en-US" b="1">
                <a:solidFill>
                  <a:schemeClr val="accent1"/>
                </a:solidFill>
                <a:latin typeface="Graphik" panose="020B0503030202060203" pitchFamily="34" charset="0"/>
              </a:rPr>
              <a:t>2. Cloud Security, Risk &amp; Compliance</a:t>
            </a:r>
            <a:endParaRPr lang="en-ZA" b="1">
              <a:solidFill>
                <a:schemeClr val="accent1"/>
              </a:solidFill>
              <a:latin typeface="Graphik" panose="020B0503030202060203" pitchFamily="34" charset="0"/>
            </a:endParaRPr>
          </a:p>
        </p:txBody>
      </p:sp>
      <p:sp>
        <p:nvSpPr>
          <p:cNvPr id="13" name="Rectangle 12">
            <a:extLst>
              <a:ext uri="{FF2B5EF4-FFF2-40B4-BE49-F238E27FC236}">
                <a16:creationId xmlns:a16="http://schemas.microsoft.com/office/drawing/2014/main" id="{A2A2B339-34D0-4E4C-A64A-1D4F53CF4E1E}"/>
              </a:ext>
            </a:extLst>
          </p:cNvPr>
          <p:cNvSpPr/>
          <p:nvPr/>
        </p:nvSpPr>
        <p:spPr>
          <a:xfrm>
            <a:off x="695326" y="1570016"/>
            <a:ext cx="7467600"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1 Network &amp; End Point Security</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3" name="Rectangle 22">
            <a:extLst>
              <a:ext uri="{FF2B5EF4-FFF2-40B4-BE49-F238E27FC236}">
                <a16:creationId xmlns:a16="http://schemas.microsoft.com/office/drawing/2014/main" id="{1C06B414-FC51-41C8-8FB0-3B8CBF313D11}"/>
              </a:ext>
            </a:extLst>
          </p:cNvPr>
          <p:cNvSpPr/>
          <p:nvPr/>
        </p:nvSpPr>
        <p:spPr>
          <a:xfrm>
            <a:off x="1890256"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2 Cyber Defens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4" name="Rectangle 23">
            <a:extLst>
              <a:ext uri="{FF2B5EF4-FFF2-40B4-BE49-F238E27FC236}">
                <a16:creationId xmlns:a16="http://schemas.microsoft.com/office/drawing/2014/main" id="{9E1844B7-E4AB-4C61-A35C-F15C132A6968}"/>
              </a:ext>
            </a:extLst>
          </p:cNvPr>
          <p:cNvSpPr/>
          <p:nvPr/>
        </p:nvSpPr>
        <p:spPr>
          <a:xfrm>
            <a:off x="6010152" y="171492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6 Data Privacy &amp; Protection</a:t>
            </a:r>
          </a:p>
        </p:txBody>
      </p:sp>
      <p:sp>
        <p:nvSpPr>
          <p:cNvPr id="25" name="Rectangle 24">
            <a:extLst>
              <a:ext uri="{FF2B5EF4-FFF2-40B4-BE49-F238E27FC236}">
                <a16:creationId xmlns:a16="http://schemas.microsoft.com/office/drawing/2014/main" id="{5C47D989-D963-4F76-AB4D-F9856F5B50AC}"/>
              </a:ext>
            </a:extLst>
          </p:cNvPr>
          <p:cNvSpPr/>
          <p:nvPr/>
        </p:nvSpPr>
        <p:spPr>
          <a:xfrm>
            <a:off x="7038595"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7 Cloud Governance, Risk &amp; Complianc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6" name="Rectangle 25">
            <a:extLst>
              <a:ext uri="{FF2B5EF4-FFF2-40B4-BE49-F238E27FC236}">
                <a16:creationId xmlns:a16="http://schemas.microsoft.com/office/drawing/2014/main" id="{4F7FFED5-22BA-47DE-898F-A456A970819E}"/>
              </a:ext>
            </a:extLst>
          </p:cNvPr>
          <p:cNvSpPr/>
          <p:nvPr/>
        </p:nvSpPr>
        <p:spPr>
          <a:xfrm>
            <a:off x="2921761"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3 Digital Identity</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7" name="Rectangle 26">
            <a:extLst>
              <a:ext uri="{FF2B5EF4-FFF2-40B4-BE49-F238E27FC236}">
                <a16:creationId xmlns:a16="http://schemas.microsoft.com/office/drawing/2014/main" id="{33A613B4-48EB-4627-B175-58670DFB733D}"/>
              </a:ext>
            </a:extLst>
          </p:cNvPr>
          <p:cNvSpPr/>
          <p:nvPr/>
        </p:nvSpPr>
        <p:spPr>
          <a:xfrm>
            <a:off x="3953266"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4 Cloud Security Broker</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9" name="Rectangle 28">
            <a:extLst>
              <a:ext uri="{FF2B5EF4-FFF2-40B4-BE49-F238E27FC236}">
                <a16:creationId xmlns:a16="http://schemas.microsoft.com/office/drawing/2014/main" id="{7D9E0D87-988B-41ED-A7F2-8BECCAA22274}"/>
              </a:ext>
            </a:extLst>
          </p:cNvPr>
          <p:cNvSpPr/>
          <p:nvPr/>
        </p:nvSpPr>
        <p:spPr>
          <a:xfrm>
            <a:off x="4981709" y="17117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2.5 Application Security</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1670256150"/>
              </p:ext>
            </p:extLst>
          </p:nvPr>
        </p:nvGraphicFramePr>
        <p:xfrm>
          <a:off x="695325" y="2904109"/>
          <a:ext cx="10729912" cy="27096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192899">
                  <a:extLst>
                    <a:ext uri="{9D8B030D-6E8A-4147-A177-3AD203B41FA5}">
                      <a16:colId xmlns:a16="http://schemas.microsoft.com/office/drawing/2014/main" val="20001"/>
                    </a:ext>
                  </a:extLst>
                </a:gridCol>
                <a:gridCol w="6951913">
                  <a:extLst>
                    <a:ext uri="{9D8B030D-6E8A-4147-A177-3AD203B41FA5}">
                      <a16:colId xmlns:a16="http://schemas.microsoft.com/office/drawing/2014/main" val="20002"/>
                    </a:ext>
                  </a:extLst>
                </a:gridCol>
              </a:tblGrid>
              <a:tr h="148091">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lang="en-US" sz="1000">
                          <a:latin typeface="+mn-lt"/>
                        </a:rPr>
                        <a:t>2.Cloud Security, Risk &amp; Compliance</a:t>
                      </a:r>
                      <a:endParaRPr lang="en-ZA" sz="1000">
                        <a:latin typeface="+mn-lt"/>
                      </a:endParaRPr>
                    </a:p>
                  </a:txBody>
                  <a:tcPr marL="72000" marR="72000" marT="36000" marB="36000"/>
                </a:tc>
                <a:tc>
                  <a:txBody>
                    <a:bodyPr/>
                    <a:lstStyle/>
                    <a:p>
                      <a:pPr marL="0" algn="l" defTabSz="914400" rtl="0" eaLnBrk="0" fontAlgn="base" latinLnBrk="0" hangingPunct="0">
                        <a:spcBef>
                          <a:spcPct val="0"/>
                        </a:spcBef>
                        <a:spcAft>
                          <a:spcPct val="0"/>
                        </a:spcAft>
                        <a:buClr>
                          <a:srgbClr val="4F81BD"/>
                        </a:buCl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1 Network &amp; End Point Security</a:t>
                      </a:r>
                      <a:endParaRPr lang="en-US" sz="1000" b="0" kern="1200">
                        <a:solidFill>
                          <a:schemeClr val="tx1"/>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lang="en-US" sz="1000" kern="0">
                          <a:solidFill>
                            <a:prstClr val="black"/>
                          </a:solidFill>
                          <a:latin typeface="+mn-lt"/>
                          <a:cs typeface="Arial" charset="0"/>
                        </a:rPr>
                        <a:t>Evaluation of Network security, firewalls and intrusion detection / prevention system.</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3311931470"/>
                  </a:ext>
                </a:extLst>
              </a:tr>
              <a:tr h="0">
                <a:tc>
                  <a:txBody>
                    <a:bodyPr/>
                    <a:lstStyle/>
                    <a:p>
                      <a:pPr marL="0" algn="l" defTabSz="914400" rtl="0" eaLnBrk="0" fontAlgn="base" latinLnBrk="0" hangingPunct="0">
                        <a:spcBef>
                          <a:spcPct val="0"/>
                        </a:spcBef>
                        <a:spcAft>
                          <a:spcPct val="0"/>
                        </a:spcAft>
                        <a:buClr>
                          <a:srgbClr val="4F81BD"/>
                        </a:buClr>
                      </a:pPr>
                      <a:endParaRPr lang="en-US" sz="1000" b="0"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2 Cyber Defense</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algn="l" defTabSz="914400" rtl="0" eaLnBrk="0" fontAlgn="base" latinLnBrk="0" hangingPunct="0">
                        <a:spcBef>
                          <a:spcPct val="0"/>
                        </a:spcBef>
                        <a:spcAft>
                          <a:spcPct val="0"/>
                        </a:spcAft>
                        <a:buClr>
                          <a:srgbClr val="4F81BD"/>
                        </a:buClr>
                      </a:pPr>
                      <a:r>
                        <a:rPr lang="en-US" sz="1000" kern="0">
                          <a:solidFill>
                            <a:prstClr val="black"/>
                          </a:solidFill>
                          <a:latin typeface="+mn-lt"/>
                          <a:ea typeface="+mn-ea"/>
                          <a:cs typeface="Arial" charset="0"/>
                        </a:rPr>
                        <a:t>Prevent, detect and respond to cyber attacks and threats in order to protect the infrastructure and the information assets of an organization.</a:t>
                      </a:r>
                    </a:p>
                  </a:txBody>
                  <a:tcPr marL="72000" marR="72000" marT="36000" marB="36000"/>
                </a:tc>
                <a:extLst>
                  <a:ext uri="{0D108BD9-81ED-4DB2-BD59-A6C34878D82A}">
                    <a16:rowId xmlns:a16="http://schemas.microsoft.com/office/drawing/2014/main" val="2284559340"/>
                  </a:ext>
                </a:extLst>
              </a:tr>
              <a:tr h="0">
                <a:tc>
                  <a:txBody>
                    <a:bodyPr/>
                    <a:lstStyle/>
                    <a:p>
                      <a:pPr marL="0" algn="l" defTabSz="914400" rtl="0" eaLnBrk="0" fontAlgn="base" latinLnBrk="0" hangingPunct="0">
                        <a:spcBef>
                          <a:spcPct val="0"/>
                        </a:spcBef>
                        <a:spcAft>
                          <a:spcPct val="0"/>
                        </a:spcAft>
                        <a:buClr>
                          <a:srgbClr val="4F81BD"/>
                        </a:buClr>
                      </a:pPr>
                      <a:endParaRPr lang="en-US" sz="1000" b="0"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3 Digital Identity</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lang="en-US" sz="1000" kern="0">
                          <a:solidFill>
                            <a:prstClr val="black"/>
                          </a:solidFill>
                          <a:latin typeface="+mn-lt"/>
                          <a:cs typeface="Arial" charset="0"/>
                        </a:rPr>
                        <a:t>Assess and authenticate users and agents to protect and control access to data, systems, services, buildings and computers.</a:t>
                      </a:r>
                    </a:p>
                  </a:txBody>
                  <a:tcPr marL="72000" marR="72000" marT="36000" marB="36000"/>
                </a:tc>
                <a:extLst>
                  <a:ext uri="{0D108BD9-81ED-4DB2-BD59-A6C34878D82A}">
                    <a16:rowId xmlns:a16="http://schemas.microsoft.com/office/drawing/2014/main" val="1346458669"/>
                  </a:ext>
                </a:extLst>
              </a:tr>
              <a:tr h="0">
                <a:tc>
                  <a:txBody>
                    <a:bodyPr/>
                    <a:lstStyle/>
                    <a:p>
                      <a:pPr marL="0" algn="l" defTabSz="914400" rtl="0" eaLnBrk="0" fontAlgn="base" latinLnBrk="0" hangingPunct="0">
                        <a:spcBef>
                          <a:spcPct val="0"/>
                        </a:spcBef>
                        <a:spcAft>
                          <a:spcPct val="0"/>
                        </a:spcAft>
                        <a:buClr>
                          <a:srgbClr val="4F81BD"/>
                        </a:buClr>
                      </a:pPr>
                      <a:endParaRPr lang="en-US" sz="1000" b="1"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4 Cloud Access Security Broker</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algn="l" defTabSz="914400" rtl="0" eaLnBrk="0" fontAlgn="base" latinLnBrk="0" hangingPunct="0">
                        <a:spcBef>
                          <a:spcPct val="0"/>
                        </a:spcBef>
                        <a:spcAft>
                          <a:spcPct val="0"/>
                        </a:spcAft>
                        <a:buClr>
                          <a:srgbClr val="4F81BD"/>
                        </a:buClr>
                      </a:pPr>
                      <a:r>
                        <a:rPr lang="en-US" sz="1000" kern="0">
                          <a:solidFill>
                            <a:prstClr val="black"/>
                          </a:solidFill>
                          <a:latin typeface="+mn-lt"/>
                          <a:ea typeface="+mn-ea"/>
                          <a:cs typeface="Arial" charset="0"/>
                        </a:rPr>
                        <a:t>Security policy enforcement points, placed as an intermediary between consumers and providers to enforce enterprise-standard security policies.</a:t>
                      </a:r>
                    </a:p>
                  </a:txBody>
                  <a:tcPr marL="72000" marR="72000" marT="36000" marB="36000"/>
                </a:tc>
                <a:extLst>
                  <a:ext uri="{0D108BD9-81ED-4DB2-BD59-A6C34878D82A}">
                    <a16:rowId xmlns:a16="http://schemas.microsoft.com/office/drawing/2014/main" val="2366571738"/>
                  </a:ext>
                </a:extLst>
              </a:tr>
              <a:tr h="0">
                <a:tc>
                  <a:txBody>
                    <a:bodyPr/>
                    <a:lstStyle/>
                    <a:p>
                      <a:pPr marL="0" algn="l" defTabSz="914400" rtl="0" eaLnBrk="0" fontAlgn="base" latinLnBrk="0" hangingPunct="0">
                        <a:spcBef>
                          <a:spcPct val="0"/>
                        </a:spcBef>
                        <a:spcAft>
                          <a:spcPct val="0"/>
                        </a:spcAft>
                        <a:buClr>
                          <a:srgbClr val="4F81BD"/>
                        </a:buClr>
                      </a:pPr>
                      <a:endParaRPr lang="en-US" sz="1000" b="1"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5 Application Security</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lang="en-US" sz="1000" kern="0">
                          <a:solidFill>
                            <a:prstClr val="black"/>
                          </a:solidFill>
                          <a:latin typeface="+mn-lt"/>
                          <a:cs typeface="Arial" charset="0"/>
                        </a:rPr>
                        <a:t>Ensure applications are secure by design; take into consideration DevSecOps, Microservices/API security, Application Firewalls and ongoing Security testing and monitoring.</a:t>
                      </a:r>
                    </a:p>
                  </a:txBody>
                  <a:tcPr marL="72000" marR="72000" marT="36000" marB="36000"/>
                </a:tc>
                <a:extLst>
                  <a:ext uri="{0D108BD9-81ED-4DB2-BD59-A6C34878D82A}">
                    <a16:rowId xmlns:a16="http://schemas.microsoft.com/office/drawing/2014/main" val="1432565658"/>
                  </a:ext>
                </a:extLst>
              </a:tr>
              <a:tr h="0">
                <a:tc>
                  <a:txBody>
                    <a:bodyPr/>
                    <a:lstStyle/>
                    <a:p>
                      <a:pPr marL="0" algn="l" defTabSz="914400" rtl="0" eaLnBrk="0" fontAlgn="base" latinLnBrk="0" hangingPunct="0">
                        <a:spcBef>
                          <a:spcPct val="0"/>
                        </a:spcBef>
                        <a:spcAft>
                          <a:spcPct val="0"/>
                        </a:spcAft>
                        <a:buClr>
                          <a:srgbClr val="4F81BD"/>
                        </a:buClr>
                      </a:pPr>
                      <a:endParaRPr lang="en-US" sz="1000" b="1"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6 Data Privacy &amp; Protection</a:t>
                      </a: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lang="en-US" sz="1000" kern="0">
                          <a:solidFill>
                            <a:prstClr val="black"/>
                          </a:solidFill>
                          <a:latin typeface="+mn-lt"/>
                          <a:cs typeface="Arial" charset="0"/>
                        </a:rPr>
                        <a:t>Ability to discover, classify and protect the organization's data and privacy of individuals, through appropriate controls and data management techniques. </a:t>
                      </a:r>
                    </a:p>
                  </a:txBody>
                  <a:tcPr marL="72000" marR="72000" marT="36000" marB="36000"/>
                </a:tc>
                <a:extLst>
                  <a:ext uri="{0D108BD9-81ED-4DB2-BD59-A6C34878D82A}">
                    <a16:rowId xmlns:a16="http://schemas.microsoft.com/office/drawing/2014/main" val="754341312"/>
                  </a:ext>
                </a:extLst>
              </a:tr>
              <a:tr h="0">
                <a:tc>
                  <a:txBody>
                    <a:bodyPr/>
                    <a:lstStyle/>
                    <a:p>
                      <a:pPr marL="0" algn="l" defTabSz="914400" rtl="0" eaLnBrk="0" fontAlgn="base" latinLnBrk="0" hangingPunct="0">
                        <a:spcBef>
                          <a:spcPct val="0"/>
                        </a:spcBef>
                        <a:spcAft>
                          <a:spcPct val="0"/>
                        </a:spcAft>
                        <a:buClr>
                          <a:srgbClr val="4F81BD"/>
                        </a:buClr>
                      </a:pPr>
                      <a:endParaRPr lang="en-US" sz="1000" b="1" kern="1200">
                        <a:solidFill>
                          <a:srgbClr val="4F81BD"/>
                        </a:solidFill>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1200" cap="none" spc="0" normalizeH="0" baseline="0" noProof="0">
                          <a:ln>
                            <a:noFill/>
                          </a:ln>
                          <a:solidFill>
                            <a:schemeClr val="tx1"/>
                          </a:solidFill>
                          <a:effectLst/>
                          <a:uLnTx/>
                          <a:uFillTx/>
                          <a:latin typeface="+mn-lt"/>
                          <a:ea typeface="Tahoma" panose="020B0604030504040204" pitchFamily="34" charset="0"/>
                          <a:cs typeface="Tahoma" panose="020B0604030504040204" pitchFamily="34" charset="0"/>
                        </a:rPr>
                        <a:t>2.7 Cloud Governance, Risk &amp; Compliance</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0" fontAlgn="base" latinLnBrk="0" hangingPunct="0">
                        <a:lnSpc>
                          <a:spcPct val="100000"/>
                        </a:lnSpc>
                        <a:spcBef>
                          <a:spcPct val="0"/>
                        </a:spcBef>
                        <a:spcAft>
                          <a:spcPct val="0"/>
                        </a:spcAft>
                        <a:buClr>
                          <a:srgbClr val="4F81BD"/>
                        </a:buClr>
                        <a:buSzTx/>
                        <a:buFontTx/>
                        <a:buNone/>
                        <a:tabLst/>
                        <a:defRPr/>
                      </a:pPr>
                      <a:r>
                        <a:rPr kumimoji="0" lang="en-US" sz="1000" b="0" i="0" u="none" strike="noStrike" kern="0" cap="none" spc="0" normalizeH="0" baseline="0" noProof="0">
                          <a:ln>
                            <a:noFill/>
                          </a:ln>
                          <a:effectLst/>
                          <a:uLnTx/>
                          <a:uFillTx/>
                          <a:latin typeface="+mn-lt"/>
                          <a:ea typeface="+mn-ea"/>
                          <a:cs typeface="Arial" charset="0"/>
                        </a:rPr>
                        <a:t>Management function to control Risk, Compliance, Security, Privacy and Protection with industry specific and organizational policies, procedures, standards and measures.</a:t>
                      </a:r>
                      <a:endParaRPr lang="en-US" sz="1000" kern="0">
                        <a:solidFill>
                          <a:prstClr val="black"/>
                        </a:solidFill>
                        <a:latin typeface="+mn-lt"/>
                        <a:cs typeface="Arial" charset="0"/>
                      </a:endParaRPr>
                    </a:p>
                  </a:txBody>
                  <a:tcPr marL="72000" marR="72000" marT="36000" marB="36000"/>
                </a:tc>
                <a:extLst>
                  <a:ext uri="{0D108BD9-81ED-4DB2-BD59-A6C34878D82A}">
                    <a16:rowId xmlns:a16="http://schemas.microsoft.com/office/drawing/2014/main" val="2106863944"/>
                  </a:ext>
                </a:extLst>
              </a:tr>
            </a:tbl>
          </a:graphicData>
        </a:graphic>
      </p:graphicFrame>
    </p:spTree>
    <p:extLst>
      <p:ext uri="{BB962C8B-B14F-4D97-AF65-F5344CB8AC3E}">
        <p14:creationId xmlns:p14="http://schemas.microsoft.com/office/powerpoint/2010/main" val="4279285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a:solidFill>
                  <a:schemeClr val="accent1"/>
                </a:solidFill>
                <a:latin typeface="Graphik" panose="020B0503030202060203" pitchFamily="34" charset="0"/>
              </a:rPr>
              <a:t>3. Cloud Technology (1/3)</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3"/>
            <a:ext cx="2123520" cy="452437"/>
          </a:xfrm>
        </p:spPr>
        <p:txBody>
          <a:bodyPr>
            <a:normAutofit/>
          </a:bodyPr>
          <a:lstStyle/>
          <a:p>
            <a:r>
              <a:rPr lang="en-US"/>
              <a:t>3.1 </a:t>
            </a:r>
            <a:r>
              <a:rPr lang="en-US">
                <a:solidFill>
                  <a:prstClr val="black"/>
                </a:solidFill>
                <a:latin typeface="Graphik" panose="020B0503030202060203" pitchFamily="34" charset="0"/>
              </a:rPr>
              <a:t>Compute Services</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923936"/>
            <a:ext cx="10341483"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782081"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1 Bare Metal/ Dedicated Compute </a:t>
            </a:r>
          </a:p>
        </p:txBody>
      </p:sp>
      <p:sp>
        <p:nvSpPr>
          <p:cNvPr id="23" name="Rectangle 22">
            <a:extLst>
              <a:ext uri="{FF2B5EF4-FFF2-40B4-BE49-F238E27FC236}">
                <a16:creationId xmlns:a16="http://schemas.microsoft.com/office/drawing/2014/main" id="{1C06B414-FC51-41C8-8FB0-3B8CBF313D11}"/>
              </a:ext>
            </a:extLst>
          </p:cNvPr>
          <p:cNvSpPr/>
          <p:nvPr/>
        </p:nvSpPr>
        <p:spPr>
          <a:xfrm>
            <a:off x="1923563"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2 Virtual Servers</a:t>
            </a:r>
          </a:p>
        </p:txBody>
      </p:sp>
      <p:sp>
        <p:nvSpPr>
          <p:cNvPr id="24" name="Rectangle 23">
            <a:extLst>
              <a:ext uri="{FF2B5EF4-FFF2-40B4-BE49-F238E27FC236}">
                <a16:creationId xmlns:a16="http://schemas.microsoft.com/office/drawing/2014/main" id="{9E1844B7-E4AB-4C61-A35C-F15C132A6968}"/>
              </a:ext>
            </a:extLst>
          </p:cNvPr>
          <p:cNvSpPr/>
          <p:nvPr/>
        </p:nvSpPr>
        <p:spPr>
          <a:xfrm>
            <a:off x="6489491" y="2087897"/>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6 Event-Based Compute</a:t>
            </a:r>
          </a:p>
        </p:txBody>
      </p:sp>
      <p:sp>
        <p:nvSpPr>
          <p:cNvPr id="25" name="Rectangle 24">
            <a:extLst>
              <a:ext uri="{FF2B5EF4-FFF2-40B4-BE49-F238E27FC236}">
                <a16:creationId xmlns:a16="http://schemas.microsoft.com/office/drawing/2014/main" id="{5C47D989-D963-4F76-AB4D-F9856F5B50AC}"/>
              </a:ext>
            </a:extLst>
          </p:cNvPr>
          <p:cNvSpPr/>
          <p:nvPr/>
        </p:nvSpPr>
        <p:spPr>
          <a:xfrm>
            <a:off x="7630973"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7 Scalability</a:t>
            </a:r>
          </a:p>
        </p:txBody>
      </p:sp>
      <p:sp>
        <p:nvSpPr>
          <p:cNvPr id="26" name="Rectangle 25">
            <a:extLst>
              <a:ext uri="{FF2B5EF4-FFF2-40B4-BE49-F238E27FC236}">
                <a16:creationId xmlns:a16="http://schemas.microsoft.com/office/drawing/2014/main" id="{4F7FFED5-22BA-47DE-898F-A456A970819E}"/>
              </a:ext>
            </a:extLst>
          </p:cNvPr>
          <p:cNvSpPr/>
          <p:nvPr/>
        </p:nvSpPr>
        <p:spPr>
          <a:xfrm>
            <a:off x="3065045"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3 Container Hosting, Orchestration &amp; Compute</a:t>
            </a:r>
          </a:p>
          <a:p>
            <a:pPr algn="ctr"/>
            <a:endParaRPr lang="en-US" sz="1000">
              <a:solidFill>
                <a:schemeClr val="bg1"/>
              </a:solidFill>
              <a:latin typeface="Graphik" panose="020B0503030202060203" pitchFamily="34" charset="0"/>
            </a:endParaRPr>
          </a:p>
        </p:txBody>
      </p:sp>
      <p:sp>
        <p:nvSpPr>
          <p:cNvPr id="27" name="Rectangle 26">
            <a:extLst>
              <a:ext uri="{FF2B5EF4-FFF2-40B4-BE49-F238E27FC236}">
                <a16:creationId xmlns:a16="http://schemas.microsoft.com/office/drawing/2014/main" id="{33A613B4-48EB-4627-B175-58670DFB733D}"/>
              </a:ext>
            </a:extLst>
          </p:cNvPr>
          <p:cNvSpPr/>
          <p:nvPr/>
        </p:nvSpPr>
        <p:spPr>
          <a:xfrm>
            <a:off x="4206527"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4 Container Registry</a:t>
            </a:r>
          </a:p>
        </p:txBody>
      </p:sp>
      <p:sp>
        <p:nvSpPr>
          <p:cNvPr id="28" name="Rectangle 27">
            <a:extLst>
              <a:ext uri="{FF2B5EF4-FFF2-40B4-BE49-F238E27FC236}">
                <a16:creationId xmlns:a16="http://schemas.microsoft.com/office/drawing/2014/main" id="{22449DAB-2376-4BE5-A672-98352E6E24B9}"/>
              </a:ext>
            </a:extLst>
          </p:cNvPr>
          <p:cNvSpPr/>
          <p:nvPr/>
        </p:nvSpPr>
        <p:spPr>
          <a:xfrm>
            <a:off x="8772455"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8 Simple Compute</a:t>
            </a:r>
          </a:p>
        </p:txBody>
      </p:sp>
      <p:sp>
        <p:nvSpPr>
          <p:cNvPr id="29" name="Rectangle 28">
            <a:extLst>
              <a:ext uri="{FF2B5EF4-FFF2-40B4-BE49-F238E27FC236}">
                <a16:creationId xmlns:a16="http://schemas.microsoft.com/office/drawing/2014/main" id="{7D9E0D87-988B-41ED-A7F2-8BECCAA22274}"/>
              </a:ext>
            </a:extLst>
          </p:cNvPr>
          <p:cNvSpPr/>
          <p:nvPr/>
        </p:nvSpPr>
        <p:spPr>
          <a:xfrm>
            <a:off x="5348009" y="2084692"/>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1.5 Batch Processing</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2715690242"/>
              </p:ext>
            </p:extLst>
          </p:nvPr>
        </p:nvGraphicFramePr>
        <p:xfrm>
          <a:off x="695325" y="3085084"/>
          <a:ext cx="10729912" cy="23964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644000">
                  <a:extLst>
                    <a:ext uri="{9D8B030D-6E8A-4147-A177-3AD203B41FA5}">
                      <a16:colId xmlns:a16="http://schemas.microsoft.com/office/drawing/2014/main" val="20001"/>
                    </a:ext>
                  </a:extLst>
                </a:gridCol>
                <a:gridCol w="6500812">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8">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latin typeface="+mn-lt"/>
                        </a:rPr>
                        <a:t>3.1 Compute Services</a:t>
                      </a:r>
                      <a:endParaRPr lang="en-US" sz="1000" b="1">
                        <a:latin typeface="+mn-lt"/>
                      </a:endParaRPr>
                    </a:p>
                  </a:txBody>
                  <a:tcPr marL="72000" marR="72000" marT="36000" marB="36000"/>
                </a:tc>
                <a:tc>
                  <a:txBody>
                    <a:bodyPr/>
                    <a:lstStyle/>
                    <a:p>
                      <a:pPr algn="l" fontAlgn="b"/>
                      <a:r>
                        <a:rPr lang="en-US" sz="1000" u="none" strike="noStrike">
                          <a:effectLst/>
                          <a:latin typeface="+mn-lt"/>
                        </a:rPr>
                        <a:t>3.1.1 </a:t>
                      </a:r>
                      <a:r>
                        <a:rPr lang="en-US" sz="1000" u="none" strike="noStrike" kern="1200">
                          <a:solidFill>
                            <a:schemeClr val="tx1"/>
                          </a:solidFill>
                          <a:effectLst/>
                          <a:latin typeface="+mn-lt"/>
                          <a:ea typeface="+mn-ea"/>
                          <a:cs typeface="+mn-cs"/>
                        </a:rPr>
                        <a:t>Bare Metal</a:t>
                      </a:r>
                      <a:r>
                        <a:rPr lang="en-US" sz="1000" u="none" strike="noStrike">
                          <a:effectLst/>
                          <a:latin typeface="+mn-lt"/>
                        </a:rPr>
                        <a:t>/Dedicated Comput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Physical hardware that's dedicated to a single customer/tenant</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solidFill>
                            <a:schemeClr val="tx1"/>
                          </a:solidFill>
                          <a:effectLst/>
                          <a:latin typeface="+mn-lt"/>
                        </a:rPr>
                        <a:t>3.1.2 Virtual Servers</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Virtualized machine instance with various configurations and OS option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solidFill>
                            <a:schemeClr val="tx1"/>
                          </a:solidFill>
                          <a:effectLst/>
                          <a:latin typeface="+mn-lt"/>
                        </a:rPr>
                        <a:t>3.1.3 Container Hosting, Orchestration and  Compute</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Ability to create host and manage container images at scale.</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solidFill>
                            <a:schemeClr val="tx1"/>
                          </a:solidFill>
                          <a:effectLst/>
                          <a:latin typeface="+mn-lt"/>
                        </a:rPr>
                        <a:t>3.1.4 Container Registry</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Library of Docker-formatted images used in container deployment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solidFill>
                            <a:schemeClr val="tx1"/>
                          </a:solidFill>
                          <a:effectLst/>
                          <a:latin typeface="+mn-lt"/>
                        </a:rPr>
                        <a:t>3.1.5 Batch Processing</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Orchestration of tasks and jobs across hundreds or thousands of node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chemeClr val="tx1"/>
                          </a:solidFill>
                          <a:effectLst/>
                          <a:latin typeface="+mn-lt"/>
                        </a:rPr>
                        <a:t>3.1.6 Event Based Compute</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Aka “serverless” – event-driven, scalable and durable execution fabric </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p>
                      <a:endParaRPr lang="en-US"/>
                    </a:p>
                  </a:txBody>
                  <a:tcPr/>
                </a:tc>
                <a:tc>
                  <a:txBody>
                    <a:bodyPr/>
                    <a:lstStyle/>
                    <a:p>
                      <a:pPr algn="l" fontAlgn="b"/>
                      <a:r>
                        <a:rPr lang="en-US" sz="1000" b="0" u="none" strike="noStrike">
                          <a:solidFill>
                            <a:schemeClr val="tx1"/>
                          </a:solidFill>
                          <a:effectLst/>
                          <a:latin typeface="+mn-lt"/>
                        </a:rPr>
                        <a:t>3.1.7 Scalability</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Adjusting the number of instances carrying the same workload</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206865958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u="none" strike="noStrike">
                          <a:solidFill>
                            <a:schemeClr val="tx1"/>
                          </a:solidFill>
                          <a:effectLst/>
                          <a:latin typeface="+mn-lt"/>
                        </a:rPr>
                        <a:t>3.1.8 Simple Compute</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Lightweight, simplified, rapid server provisioning for non-techie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9"/>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tc>
                <a:tc>
                  <a:txBody>
                    <a:bodyPr/>
                    <a:lstStyle/>
                    <a:p>
                      <a:pPr algn="l" fontAlgn="b"/>
                      <a:r>
                        <a:rPr lang="en-US" sz="1000" b="0" i="0" u="none" strike="noStrike">
                          <a:solidFill>
                            <a:schemeClr val="tx1"/>
                          </a:solidFill>
                          <a:effectLst/>
                          <a:latin typeface="+mn-lt"/>
                        </a:rPr>
                        <a:t>3.1.9 High Performance Compute</a:t>
                      </a:r>
                    </a:p>
                  </a:txBody>
                  <a:tcPr marL="72000" marR="72000" marT="36000" marB="36000"/>
                </a:tc>
                <a:tc>
                  <a:txBody>
                    <a:bodyPr/>
                    <a:lstStyle/>
                    <a:p>
                      <a:pPr algn="l" fontAlgn="b"/>
                      <a:r>
                        <a:rPr lang="en-US" sz="1000" b="0" i="0" u="none" strike="noStrike" err="1">
                          <a:solidFill>
                            <a:schemeClr val="tx1"/>
                          </a:solidFill>
                          <a:effectLst/>
                          <a:latin typeface="+mn-lt"/>
                        </a:rPr>
                        <a:t>Parallelising</a:t>
                      </a:r>
                      <a:r>
                        <a:rPr lang="en-US" sz="1000" b="0" i="0" u="none" strike="noStrike">
                          <a:solidFill>
                            <a:schemeClr val="tx1"/>
                          </a:solidFill>
                          <a:effectLst/>
                          <a:latin typeface="+mn-lt"/>
                        </a:rPr>
                        <a:t> compute power in order to solve complex, resource intensive, problems in minimal time.  </a:t>
                      </a:r>
                    </a:p>
                  </a:txBody>
                  <a:tcPr marL="72000" marR="72000" marT="36000" marB="36000" anchor="ctr"/>
                </a:tc>
                <a:extLst>
                  <a:ext uri="{0D108BD9-81ED-4DB2-BD59-A6C34878D82A}">
                    <a16:rowId xmlns:a16="http://schemas.microsoft.com/office/drawing/2014/main" val="1650380627"/>
                  </a:ext>
                </a:extLst>
              </a:tr>
            </a:tbl>
          </a:graphicData>
        </a:graphic>
      </p:graphicFrame>
      <p:sp>
        <p:nvSpPr>
          <p:cNvPr id="16" name="Rectangle 15">
            <a:extLst>
              <a:ext uri="{FF2B5EF4-FFF2-40B4-BE49-F238E27FC236}">
                <a16:creationId xmlns:a16="http://schemas.microsoft.com/office/drawing/2014/main" id="{D22E33CC-1DB4-4D84-8546-F2DC8663353D}"/>
              </a:ext>
            </a:extLst>
          </p:cNvPr>
          <p:cNvSpPr/>
          <p:nvPr/>
        </p:nvSpPr>
        <p:spPr>
          <a:xfrm>
            <a:off x="9913941" y="2075574"/>
            <a:ext cx="1095435"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000">
                <a:solidFill>
                  <a:schemeClr val="bg1"/>
                </a:solidFill>
                <a:latin typeface="Graphik" panose="020B0503030202060203" pitchFamily="34" charset="0"/>
              </a:rPr>
              <a:t>3.1.9 High Performance  Compute</a:t>
            </a:r>
          </a:p>
        </p:txBody>
      </p:sp>
    </p:spTree>
    <p:extLst>
      <p:ext uri="{BB962C8B-B14F-4D97-AF65-F5344CB8AC3E}">
        <p14:creationId xmlns:p14="http://schemas.microsoft.com/office/powerpoint/2010/main" val="3317846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88464"/>
            <a:ext cx="11115675" cy="215444"/>
          </a:xfrm>
        </p:spPr>
        <p:txBody>
          <a:bodyPr/>
          <a:lstStyle/>
          <a:p>
            <a:r>
              <a:rPr lang="en-US" b="1">
                <a:solidFill>
                  <a:schemeClr val="accent1"/>
                </a:solidFill>
                <a:latin typeface="Graphik" panose="020B0503030202060203" pitchFamily="34" charset="0"/>
              </a:rPr>
              <a:t>3. Cloud Technology (2/3)</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3"/>
            <a:ext cx="2123520" cy="452437"/>
          </a:xfrm>
        </p:spPr>
        <p:txBody>
          <a:bodyPr>
            <a:normAutofit/>
          </a:bodyPr>
          <a:lstStyle/>
          <a:p>
            <a:r>
              <a:rPr lang="en-US"/>
              <a:t>3.2 </a:t>
            </a:r>
            <a:r>
              <a:rPr lang="en-US">
                <a:solidFill>
                  <a:prstClr val="black"/>
                </a:solidFill>
                <a:latin typeface="Graphik" panose="020B0503030202060203" pitchFamily="34" charset="0"/>
              </a:rPr>
              <a:t>Networking</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923936"/>
            <a:ext cx="8467725"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1 Virtual Networking</a:t>
            </a:r>
          </a:p>
        </p:txBody>
      </p:sp>
      <p:sp>
        <p:nvSpPr>
          <p:cNvPr id="23" name="Rectangle 22">
            <a:extLst>
              <a:ext uri="{FF2B5EF4-FFF2-40B4-BE49-F238E27FC236}">
                <a16:creationId xmlns:a16="http://schemas.microsoft.com/office/drawing/2014/main" id="{1C06B414-FC51-41C8-8FB0-3B8CBF313D11}"/>
              </a:ext>
            </a:extLst>
          </p:cNvPr>
          <p:cNvSpPr/>
          <p:nvPr/>
        </p:nvSpPr>
        <p:spPr>
          <a:xfrm>
            <a:off x="189025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2 Hybrid Connectivity</a:t>
            </a:r>
          </a:p>
        </p:txBody>
      </p:sp>
      <p:sp>
        <p:nvSpPr>
          <p:cNvPr id="24" name="Rectangle 23">
            <a:extLst>
              <a:ext uri="{FF2B5EF4-FFF2-40B4-BE49-F238E27FC236}">
                <a16:creationId xmlns:a16="http://schemas.microsoft.com/office/drawing/2014/main" id="{9E1844B7-E4AB-4C61-A35C-F15C132A6968}"/>
              </a:ext>
            </a:extLst>
          </p:cNvPr>
          <p:cNvSpPr/>
          <p:nvPr/>
        </p:nvSpPr>
        <p:spPr>
          <a:xfrm>
            <a:off x="6010152" y="206884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6 Internet Traffic Distributor</a:t>
            </a:r>
          </a:p>
        </p:txBody>
      </p:sp>
      <p:sp>
        <p:nvSpPr>
          <p:cNvPr id="25" name="Rectangle 24">
            <a:extLst>
              <a:ext uri="{FF2B5EF4-FFF2-40B4-BE49-F238E27FC236}">
                <a16:creationId xmlns:a16="http://schemas.microsoft.com/office/drawing/2014/main" id="{5C47D989-D963-4F76-AB4D-F9856F5B50AC}"/>
              </a:ext>
            </a:extLst>
          </p:cNvPr>
          <p:cNvSpPr/>
          <p:nvPr/>
        </p:nvSpPr>
        <p:spPr>
          <a:xfrm>
            <a:off x="7038595"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7 Content Delivery Network</a:t>
            </a:r>
          </a:p>
        </p:txBody>
      </p:sp>
      <p:sp>
        <p:nvSpPr>
          <p:cNvPr id="26" name="Rectangle 25">
            <a:extLst>
              <a:ext uri="{FF2B5EF4-FFF2-40B4-BE49-F238E27FC236}">
                <a16:creationId xmlns:a16="http://schemas.microsoft.com/office/drawing/2014/main" id="{4F7FFED5-22BA-47DE-898F-A456A970819E}"/>
              </a:ext>
            </a:extLst>
          </p:cNvPr>
          <p:cNvSpPr/>
          <p:nvPr/>
        </p:nvSpPr>
        <p:spPr>
          <a:xfrm>
            <a:off x="292176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3 Dedicated Connectivity</a:t>
            </a:r>
          </a:p>
        </p:txBody>
      </p:sp>
      <p:sp>
        <p:nvSpPr>
          <p:cNvPr id="27" name="Rectangle 26">
            <a:extLst>
              <a:ext uri="{FF2B5EF4-FFF2-40B4-BE49-F238E27FC236}">
                <a16:creationId xmlns:a16="http://schemas.microsoft.com/office/drawing/2014/main" id="{33A613B4-48EB-4627-B175-58670DFB733D}"/>
              </a:ext>
            </a:extLst>
          </p:cNvPr>
          <p:cNvSpPr/>
          <p:nvPr/>
        </p:nvSpPr>
        <p:spPr>
          <a:xfrm>
            <a:off x="395326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4 Network Load Balancing</a:t>
            </a:r>
          </a:p>
        </p:txBody>
      </p:sp>
      <p:sp>
        <p:nvSpPr>
          <p:cNvPr id="28" name="Rectangle 27">
            <a:extLst>
              <a:ext uri="{FF2B5EF4-FFF2-40B4-BE49-F238E27FC236}">
                <a16:creationId xmlns:a16="http://schemas.microsoft.com/office/drawing/2014/main" id="{22449DAB-2376-4BE5-A672-98352E6E24B9}"/>
              </a:ext>
            </a:extLst>
          </p:cNvPr>
          <p:cNvSpPr/>
          <p:nvPr/>
        </p:nvSpPr>
        <p:spPr>
          <a:xfrm>
            <a:off x="8067038"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8 Domain Name Service</a:t>
            </a:r>
          </a:p>
        </p:txBody>
      </p:sp>
      <p:sp>
        <p:nvSpPr>
          <p:cNvPr id="29" name="Rectangle 28">
            <a:extLst>
              <a:ext uri="{FF2B5EF4-FFF2-40B4-BE49-F238E27FC236}">
                <a16:creationId xmlns:a16="http://schemas.microsoft.com/office/drawing/2014/main" id="{7D9E0D87-988B-41ED-A7F2-8BECCAA22274}"/>
              </a:ext>
            </a:extLst>
          </p:cNvPr>
          <p:cNvSpPr/>
          <p:nvPr/>
        </p:nvSpPr>
        <p:spPr>
          <a:xfrm>
            <a:off x="4981709"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2.5 Web Load Balancing</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3948250438"/>
              </p:ext>
            </p:extLst>
          </p:nvPr>
        </p:nvGraphicFramePr>
        <p:xfrm>
          <a:off x="695325" y="3085084"/>
          <a:ext cx="10729912" cy="20196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301100">
                  <a:extLst>
                    <a:ext uri="{9D8B030D-6E8A-4147-A177-3AD203B41FA5}">
                      <a16:colId xmlns:a16="http://schemas.microsoft.com/office/drawing/2014/main" val="20001"/>
                    </a:ext>
                  </a:extLst>
                </a:gridCol>
                <a:gridCol w="6843712">
                  <a:extLst>
                    <a:ext uri="{9D8B030D-6E8A-4147-A177-3AD203B41FA5}">
                      <a16:colId xmlns:a16="http://schemas.microsoft.com/office/drawing/2014/main" val="20002"/>
                    </a:ext>
                  </a:extLst>
                </a:gridCol>
              </a:tblGrid>
              <a:tr h="100466">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8">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a:latin typeface="+mn-lt"/>
                        </a:rPr>
                        <a:t>3.2 Networking</a:t>
                      </a:r>
                      <a:endParaRPr lang="en-US" sz="1000" b="1">
                        <a:latin typeface="+mn-lt"/>
                      </a:endParaRPr>
                    </a:p>
                  </a:txBody>
                  <a:tcPr marL="72000" marR="72000" marT="36000" marB="36000"/>
                </a:tc>
                <a:tc>
                  <a:txBody>
                    <a:bodyPr/>
                    <a:lstStyle/>
                    <a:p>
                      <a:pPr algn="l" fontAlgn="b"/>
                      <a:r>
                        <a:rPr lang="en-US" sz="1000" u="none" strike="noStrike">
                          <a:effectLst/>
                          <a:latin typeface="+mn-lt"/>
                        </a:rPr>
                        <a:t>3.2.1 Virtual Network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n isolated, private networking environment in the cloud</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2.2 Hybrid Connectivity</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kern="1200">
                          <a:solidFill>
                            <a:srgbClr val="000000"/>
                          </a:solidFill>
                          <a:effectLst/>
                          <a:latin typeface="+mn-lt"/>
                          <a:ea typeface="+mn-ea"/>
                          <a:cs typeface="+mn-cs"/>
                        </a:rPr>
                        <a:t>Connecting to other virtual or on-premises networks from the public cloud</a:t>
                      </a: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2.3 Dedicated Connectivity</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 dedicated, private network connection to the cloud provider</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2.4 Network Load Balanc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utomatic distribution of IP traffic across a group of IP nod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2.5 Web Load Balanc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utomatic distribution of http/s traffic across a group of endpoint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rgbClr val="000000"/>
                          </a:solidFill>
                          <a:effectLst/>
                          <a:latin typeface="+mn-lt"/>
                        </a:rPr>
                        <a:t>3.2.6 Internet Traffic Distributor</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Distributes traffic to application endpoints and manages failover</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p>
                      <a:endParaRPr lang="en-US"/>
                    </a:p>
                  </a:txBody>
                  <a:tcPr/>
                </a:tc>
                <a:tc>
                  <a:txBody>
                    <a:bodyPr/>
                    <a:lstStyle/>
                    <a:p>
                      <a:pPr algn="l" fontAlgn="b"/>
                      <a:r>
                        <a:rPr lang="en-US" sz="1000" u="none" strike="noStrike">
                          <a:effectLst/>
                          <a:latin typeface="+mn-lt"/>
                        </a:rPr>
                        <a:t>3.2.7 Content Delivery Network</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Caches and transfers audio, video, applications, images, and other fil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06865958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b="0" u="none" strike="noStrike">
                          <a:solidFill>
                            <a:srgbClr val="000000"/>
                          </a:solidFill>
                          <a:effectLst/>
                          <a:latin typeface="+mn-lt"/>
                        </a:rPr>
                        <a:t>3.2.8 Domain Name Servic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Manage Domain Name Service records and resolves name request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129342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88464"/>
            <a:ext cx="11115675" cy="215444"/>
          </a:xfrm>
        </p:spPr>
        <p:txBody>
          <a:bodyPr/>
          <a:lstStyle/>
          <a:p>
            <a:r>
              <a:rPr lang="en-US" b="1">
                <a:solidFill>
                  <a:schemeClr val="accent1"/>
                </a:solidFill>
                <a:latin typeface="Graphik" panose="020B0503030202060203" pitchFamily="34" charset="0"/>
              </a:rPr>
              <a:t>3. Cloud Technology (3/3)</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3"/>
            <a:ext cx="2123520" cy="452437"/>
          </a:xfrm>
        </p:spPr>
        <p:txBody>
          <a:bodyPr>
            <a:normAutofit/>
          </a:bodyPr>
          <a:lstStyle/>
          <a:p>
            <a:r>
              <a:rPr lang="en-US"/>
              <a:t>3.3 </a:t>
            </a:r>
            <a:r>
              <a:rPr lang="en-US">
                <a:solidFill>
                  <a:prstClr val="black"/>
                </a:solidFill>
                <a:latin typeface="Graphik" panose="020B0503030202060203" pitchFamily="34" charset="0"/>
              </a:rPr>
              <a:t>Storage</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6" y="1923936"/>
            <a:ext cx="7486650"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1 Attached Disk Storage</a:t>
            </a:r>
          </a:p>
        </p:txBody>
      </p:sp>
      <p:sp>
        <p:nvSpPr>
          <p:cNvPr id="23" name="Rectangle 22">
            <a:extLst>
              <a:ext uri="{FF2B5EF4-FFF2-40B4-BE49-F238E27FC236}">
                <a16:creationId xmlns:a16="http://schemas.microsoft.com/office/drawing/2014/main" id="{1C06B414-FC51-41C8-8FB0-3B8CBF313D11}"/>
              </a:ext>
            </a:extLst>
          </p:cNvPr>
          <p:cNvSpPr/>
          <p:nvPr/>
        </p:nvSpPr>
        <p:spPr>
          <a:xfrm>
            <a:off x="189025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2 Object Storage</a:t>
            </a:r>
          </a:p>
        </p:txBody>
      </p:sp>
      <p:sp>
        <p:nvSpPr>
          <p:cNvPr id="24" name="Rectangle 23">
            <a:extLst>
              <a:ext uri="{FF2B5EF4-FFF2-40B4-BE49-F238E27FC236}">
                <a16:creationId xmlns:a16="http://schemas.microsoft.com/office/drawing/2014/main" id="{9E1844B7-E4AB-4C61-A35C-F15C132A6968}"/>
              </a:ext>
            </a:extLst>
          </p:cNvPr>
          <p:cNvSpPr/>
          <p:nvPr/>
        </p:nvSpPr>
        <p:spPr>
          <a:xfrm>
            <a:off x="6010152" y="206884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6 Disaster Recovery</a:t>
            </a:r>
          </a:p>
        </p:txBody>
      </p:sp>
      <p:sp>
        <p:nvSpPr>
          <p:cNvPr id="25" name="Rectangle 24">
            <a:extLst>
              <a:ext uri="{FF2B5EF4-FFF2-40B4-BE49-F238E27FC236}">
                <a16:creationId xmlns:a16="http://schemas.microsoft.com/office/drawing/2014/main" id="{5C47D989-D963-4F76-AB4D-F9856F5B50AC}"/>
              </a:ext>
            </a:extLst>
          </p:cNvPr>
          <p:cNvSpPr/>
          <p:nvPr/>
        </p:nvSpPr>
        <p:spPr>
          <a:xfrm>
            <a:off x="7038595"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7 Backup</a:t>
            </a:r>
          </a:p>
        </p:txBody>
      </p:sp>
      <p:sp>
        <p:nvSpPr>
          <p:cNvPr id="26" name="Rectangle 25">
            <a:extLst>
              <a:ext uri="{FF2B5EF4-FFF2-40B4-BE49-F238E27FC236}">
                <a16:creationId xmlns:a16="http://schemas.microsoft.com/office/drawing/2014/main" id="{4F7FFED5-22BA-47DE-898F-A456A970819E}"/>
              </a:ext>
            </a:extLst>
          </p:cNvPr>
          <p:cNvSpPr/>
          <p:nvPr/>
        </p:nvSpPr>
        <p:spPr>
          <a:xfrm>
            <a:off x="2921761"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3 Shared File Storage</a:t>
            </a:r>
          </a:p>
        </p:txBody>
      </p:sp>
      <p:sp>
        <p:nvSpPr>
          <p:cNvPr id="27" name="Rectangle 26">
            <a:extLst>
              <a:ext uri="{FF2B5EF4-FFF2-40B4-BE49-F238E27FC236}">
                <a16:creationId xmlns:a16="http://schemas.microsoft.com/office/drawing/2014/main" id="{33A613B4-48EB-4627-B175-58670DFB733D}"/>
              </a:ext>
            </a:extLst>
          </p:cNvPr>
          <p:cNvSpPr/>
          <p:nvPr/>
        </p:nvSpPr>
        <p:spPr>
          <a:xfrm>
            <a:off x="3953266"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4 Archiving Cool Storage</a:t>
            </a:r>
          </a:p>
        </p:txBody>
      </p:sp>
      <p:sp>
        <p:nvSpPr>
          <p:cNvPr id="29" name="Rectangle 28">
            <a:extLst>
              <a:ext uri="{FF2B5EF4-FFF2-40B4-BE49-F238E27FC236}">
                <a16:creationId xmlns:a16="http://schemas.microsoft.com/office/drawing/2014/main" id="{7D9E0D87-988B-41ED-A7F2-8BECCAA22274}"/>
              </a:ext>
            </a:extLst>
          </p:cNvPr>
          <p:cNvSpPr/>
          <p:nvPr/>
        </p:nvSpPr>
        <p:spPr>
          <a:xfrm>
            <a:off x="4981709" y="206564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3.3.5 Hybrid Storage</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1310475858"/>
              </p:ext>
            </p:extLst>
          </p:nvPr>
        </p:nvGraphicFramePr>
        <p:xfrm>
          <a:off x="695325" y="3085084"/>
          <a:ext cx="10729912" cy="17952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415400">
                  <a:extLst>
                    <a:ext uri="{9D8B030D-6E8A-4147-A177-3AD203B41FA5}">
                      <a16:colId xmlns:a16="http://schemas.microsoft.com/office/drawing/2014/main" val="20001"/>
                    </a:ext>
                  </a:extLst>
                </a:gridCol>
                <a:gridCol w="6729412">
                  <a:extLst>
                    <a:ext uri="{9D8B030D-6E8A-4147-A177-3AD203B41FA5}">
                      <a16:colId xmlns:a16="http://schemas.microsoft.com/office/drawing/2014/main" val="20002"/>
                    </a:ext>
                  </a:extLst>
                </a:gridCol>
              </a:tblGrid>
              <a:tr h="100466">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7">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mn-lt"/>
                        </a:rPr>
                        <a:t>3.3 </a:t>
                      </a:r>
                      <a:r>
                        <a:rPr lang="en-US" sz="1000" b="1">
                          <a:solidFill>
                            <a:prstClr val="black"/>
                          </a:solidFill>
                          <a:latin typeface="+mn-lt"/>
                        </a:rPr>
                        <a:t>Storage</a:t>
                      </a:r>
                      <a:endParaRPr lang="en-US" sz="1000" b="1">
                        <a:latin typeface="+mn-lt"/>
                      </a:endParaRPr>
                    </a:p>
                  </a:txBody>
                  <a:tcPr marL="72000" marR="72000" marT="36000" marB="36000"/>
                </a:tc>
                <a:tc>
                  <a:txBody>
                    <a:bodyPr/>
                    <a:lstStyle/>
                    <a:p>
                      <a:pPr algn="l" fontAlgn="b"/>
                      <a:r>
                        <a:rPr lang="en-US" sz="1000" u="none" strike="noStrike">
                          <a:effectLst/>
                          <a:latin typeface="+mn-lt"/>
                        </a:rPr>
                        <a:t>3.3.1 Attached Disk Storag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VM-attached storage optimized for I/O intensive read/write opera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3.2 Object Storag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cure, reliable and durable http/s-accessible object storag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3.3 Shared File Storag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hared file system accessible from multiple sourc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3.4 Archiving Cool Storag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Low-cost slow storage for infrequently accessed archived data</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3.3.5 Hybrid Storag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Integrated on-premises and cloud data storag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lnT w="3175" cap="flat" cmpd="sng" algn="ctr">
                      <a:solidFill>
                        <a:schemeClr val="tx2"/>
                      </a:solidFill>
                      <a:prstDash val="solid"/>
                      <a:round/>
                      <a:headEnd type="none" w="med" len="med"/>
                      <a:tailEnd type="none" w="med" len="med"/>
                    </a:lnT>
                  </a:tcPr>
                </a:tc>
                <a:tc>
                  <a:txBody>
                    <a:bodyPr/>
                    <a:lstStyle/>
                    <a:p>
                      <a:pPr algn="l" fontAlgn="b"/>
                      <a:r>
                        <a:rPr lang="en-US" sz="1000" b="0" u="none" strike="noStrike">
                          <a:solidFill>
                            <a:srgbClr val="000000"/>
                          </a:solidFill>
                          <a:effectLst/>
                          <a:latin typeface="+mn-lt"/>
                        </a:rPr>
                        <a:t>3.3.6 Disaster Recovery</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Automated protection and replication of environments with recovery pla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tc>
                <a:tc>
                  <a:txBody>
                    <a:bodyPr/>
                    <a:lstStyle/>
                    <a:p>
                      <a:pPr marL="0" algn="l" defTabSz="914400" rtl="0" eaLnBrk="1" fontAlgn="b" latinLnBrk="0" hangingPunct="1"/>
                      <a:r>
                        <a:rPr lang="en-US" sz="1000" b="0" u="none" strike="noStrike" kern="1200">
                          <a:solidFill>
                            <a:srgbClr val="000000"/>
                          </a:solidFill>
                          <a:effectLst/>
                          <a:latin typeface="+mn-lt"/>
                        </a:rPr>
                        <a:t>3.3.7 Backup</a:t>
                      </a:r>
                      <a:endParaRPr lang="en-US" sz="1000" b="0" i="0" u="none" strike="noStrike" kern="1200">
                        <a:solidFill>
                          <a:srgbClr val="000000"/>
                        </a:solidFill>
                        <a:effectLst/>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Backup and archival solutions that allow files to be backed-up to the cloud</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068659586"/>
                  </a:ext>
                </a:extLst>
              </a:tr>
            </a:tbl>
          </a:graphicData>
        </a:graphic>
      </p:graphicFrame>
    </p:spTree>
    <p:extLst>
      <p:ext uri="{BB962C8B-B14F-4D97-AF65-F5344CB8AC3E}">
        <p14:creationId xmlns:p14="http://schemas.microsoft.com/office/powerpoint/2010/main" val="3795325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77118"/>
            <a:ext cx="11115675" cy="215444"/>
          </a:xfrm>
        </p:spPr>
        <p:txBody>
          <a:bodyPr/>
          <a:lstStyle/>
          <a:p>
            <a:r>
              <a:rPr lang="en-US" b="1">
                <a:solidFill>
                  <a:schemeClr val="accent1"/>
                </a:solidFill>
                <a:latin typeface="Graphik" panose="020B0503030202060203" pitchFamily="34" charset="0"/>
              </a:rPr>
              <a:t>4. Cloud Data (1/4)</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3"/>
            <a:ext cx="2123520" cy="452437"/>
          </a:xfrm>
        </p:spPr>
        <p:txBody>
          <a:bodyPr>
            <a:normAutofit/>
          </a:bodyPr>
          <a:lstStyle/>
          <a:p>
            <a:r>
              <a:rPr lang="en-US"/>
              <a:t>4.1 </a:t>
            </a:r>
            <a:r>
              <a:rPr lang="en-US">
                <a:solidFill>
                  <a:prstClr val="black"/>
                </a:solidFill>
                <a:latin typeface="Graphik" panose="020B0503030202060203" pitchFamily="34" charset="0"/>
              </a:rPr>
              <a:t>Database Services</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885836"/>
            <a:ext cx="8448675"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1 Cloud-native RDBMS</a:t>
            </a:r>
          </a:p>
        </p:txBody>
      </p:sp>
      <p:sp>
        <p:nvSpPr>
          <p:cNvPr id="23" name="Rectangle 22">
            <a:extLst>
              <a:ext uri="{FF2B5EF4-FFF2-40B4-BE49-F238E27FC236}">
                <a16:creationId xmlns:a16="http://schemas.microsoft.com/office/drawing/2014/main" id="{1C06B414-FC51-41C8-8FB0-3B8CBF313D11}"/>
              </a:ext>
            </a:extLst>
          </p:cNvPr>
          <p:cNvSpPr/>
          <p:nvPr/>
        </p:nvSpPr>
        <p:spPr>
          <a:xfrm>
            <a:off x="1890256"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2 Non-native</a:t>
            </a:r>
          </a:p>
          <a:p>
            <a:pPr algn="ctr"/>
            <a:r>
              <a:rPr lang="en-US" sz="1000">
                <a:solidFill>
                  <a:schemeClr val="bg1"/>
                </a:solidFill>
                <a:latin typeface="Graphik" panose="020B0503030202060203" pitchFamily="34" charset="0"/>
              </a:rPr>
              <a:t>managed</a:t>
            </a:r>
            <a:br>
              <a:rPr lang="en-US" sz="1000">
                <a:solidFill>
                  <a:schemeClr val="bg1"/>
                </a:solidFill>
                <a:latin typeface="Graphik" panose="020B0503030202060203" pitchFamily="34" charset="0"/>
              </a:rPr>
            </a:br>
            <a:r>
              <a:rPr lang="en-US" sz="1000">
                <a:solidFill>
                  <a:schemeClr val="bg1"/>
                </a:solidFill>
                <a:latin typeface="Graphik" panose="020B0503030202060203" pitchFamily="34" charset="0"/>
              </a:rPr>
              <a:t>RDBMS</a:t>
            </a:r>
          </a:p>
        </p:txBody>
      </p:sp>
      <p:sp>
        <p:nvSpPr>
          <p:cNvPr id="24" name="Rectangle 23">
            <a:extLst>
              <a:ext uri="{FF2B5EF4-FFF2-40B4-BE49-F238E27FC236}">
                <a16:creationId xmlns:a16="http://schemas.microsoft.com/office/drawing/2014/main" id="{9E1844B7-E4AB-4C61-A35C-F15C132A6968}"/>
              </a:ext>
            </a:extLst>
          </p:cNvPr>
          <p:cNvSpPr/>
          <p:nvPr/>
        </p:nvSpPr>
        <p:spPr>
          <a:xfrm>
            <a:off x="6010152" y="20497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6 Data Warehouse</a:t>
            </a:r>
          </a:p>
        </p:txBody>
      </p:sp>
      <p:sp>
        <p:nvSpPr>
          <p:cNvPr id="25" name="Rectangle 24">
            <a:extLst>
              <a:ext uri="{FF2B5EF4-FFF2-40B4-BE49-F238E27FC236}">
                <a16:creationId xmlns:a16="http://schemas.microsoft.com/office/drawing/2014/main" id="{5C47D989-D963-4F76-AB4D-F9856F5B50AC}"/>
              </a:ext>
            </a:extLst>
          </p:cNvPr>
          <p:cNvSpPr/>
          <p:nvPr/>
        </p:nvSpPr>
        <p:spPr>
          <a:xfrm>
            <a:off x="7038595"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7 Caching</a:t>
            </a:r>
          </a:p>
        </p:txBody>
      </p:sp>
      <p:sp>
        <p:nvSpPr>
          <p:cNvPr id="26" name="Rectangle 25">
            <a:extLst>
              <a:ext uri="{FF2B5EF4-FFF2-40B4-BE49-F238E27FC236}">
                <a16:creationId xmlns:a16="http://schemas.microsoft.com/office/drawing/2014/main" id="{4F7FFED5-22BA-47DE-898F-A456A970819E}"/>
              </a:ext>
            </a:extLst>
          </p:cNvPr>
          <p:cNvSpPr/>
          <p:nvPr/>
        </p:nvSpPr>
        <p:spPr>
          <a:xfrm>
            <a:off x="2921761"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3 No-SQL</a:t>
            </a:r>
          </a:p>
        </p:txBody>
      </p:sp>
      <p:sp>
        <p:nvSpPr>
          <p:cNvPr id="27" name="Rectangle 26">
            <a:extLst>
              <a:ext uri="{FF2B5EF4-FFF2-40B4-BE49-F238E27FC236}">
                <a16:creationId xmlns:a16="http://schemas.microsoft.com/office/drawing/2014/main" id="{33A613B4-48EB-4627-B175-58670DFB733D}"/>
              </a:ext>
            </a:extLst>
          </p:cNvPr>
          <p:cNvSpPr/>
          <p:nvPr/>
        </p:nvSpPr>
        <p:spPr>
          <a:xfrm>
            <a:off x="3953266"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4 Graph Database</a:t>
            </a:r>
          </a:p>
        </p:txBody>
      </p:sp>
      <p:sp>
        <p:nvSpPr>
          <p:cNvPr id="28" name="Rectangle 27">
            <a:extLst>
              <a:ext uri="{FF2B5EF4-FFF2-40B4-BE49-F238E27FC236}">
                <a16:creationId xmlns:a16="http://schemas.microsoft.com/office/drawing/2014/main" id="{22449DAB-2376-4BE5-A672-98352E6E24B9}"/>
              </a:ext>
            </a:extLst>
          </p:cNvPr>
          <p:cNvSpPr/>
          <p:nvPr/>
        </p:nvSpPr>
        <p:spPr>
          <a:xfrm>
            <a:off x="8067038"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8 Master </a:t>
            </a:r>
          </a:p>
          <a:p>
            <a:pPr algn="ctr"/>
            <a:r>
              <a:rPr lang="en-US" sz="1000">
                <a:solidFill>
                  <a:schemeClr val="bg1"/>
                </a:solidFill>
                <a:latin typeface="Graphik" panose="020B0503030202060203" pitchFamily="34" charset="0"/>
              </a:rPr>
              <a:t>Data</a:t>
            </a:r>
          </a:p>
          <a:p>
            <a:pPr algn="ctr"/>
            <a:r>
              <a:rPr lang="en-US" sz="1000">
                <a:solidFill>
                  <a:schemeClr val="bg1"/>
                </a:solidFill>
                <a:latin typeface="Graphik" panose="020B0503030202060203" pitchFamily="34" charset="0"/>
              </a:rPr>
              <a:t>Mgmt.</a:t>
            </a:r>
          </a:p>
        </p:txBody>
      </p:sp>
      <p:sp>
        <p:nvSpPr>
          <p:cNvPr id="29" name="Rectangle 28">
            <a:extLst>
              <a:ext uri="{FF2B5EF4-FFF2-40B4-BE49-F238E27FC236}">
                <a16:creationId xmlns:a16="http://schemas.microsoft.com/office/drawing/2014/main" id="{7D9E0D87-988B-41ED-A7F2-8BECCAA22274}"/>
              </a:ext>
            </a:extLst>
          </p:cNvPr>
          <p:cNvSpPr/>
          <p:nvPr/>
        </p:nvSpPr>
        <p:spPr>
          <a:xfrm>
            <a:off x="4981709" y="204659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1.5 In-memory Database</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2591256836"/>
              </p:ext>
            </p:extLst>
          </p:nvPr>
        </p:nvGraphicFramePr>
        <p:xfrm>
          <a:off x="695325" y="3085084"/>
          <a:ext cx="10729912" cy="22440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282050">
                  <a:extLst>
                    <a:ext uri="{9D8B030D-6E8A-4147-A177-3AD203B41FA5}">
                      <a16:colId xmlns:a16="http://schemas.microsoft.com/office/drawing/2014/main" val="20001"/>
                    </a:ext>
                  </a:extLst>
                </a:gridCol>
                <a:gridCol w="6862762">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8">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mn-lt"/>
                        </a:rPr>
                        <a:t>4.1 Database Services</a:t>
                      </a:r>
                    </a:p>
                  </a:txBody>
                  <a:tcPr marL="72000" marR="72000" marT="36000" marB="36000"/>
                </a:tc>
                <a:tc>
                  <a:txBody>
                    <a:bodyPr/>
                    <a:lstStyle/>
                    <a:p>
                      <a:pPr algn="l" fontAlgn="b"/>
                      <a:r>
                        <a:rPr lang="en-US" sz="1000" u="none" strike="noStrike">
                          <a:effectLst/>
                          <a:latin typeface="+mn-lt"/>
                        </a:rPr>
                        <a:t>4.1.1 Cloud native RDBMS</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Cloud-native, highly performant, reliable, scalable and secure database engin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1.2 Non-native managed RDBMS</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Managed wrapper for RDBMS as a servic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1.3 No SQL</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Read-optimized, non-relational database usually optimized for distribution and scal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1.4 Graph Databas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i="0" u="none" strike="noStrike">
                          <a:solidFill>
                            <a:srgbClr val="000000"/>
                          </a:solidFill>
                          <a:effectLst/>
                          <a:latin typeface="+mn-lt"/>
                        </a:rPr>
                        <a:t>Multi node databased optimized for multiple joins</a:t>
                      </a: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1.5 In-memory database</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n in-memory columnar database stores compressed data</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rgbClr val="000000"/>
                          </a:solidFill>
                          <a:effectLst/>
                          <a:latin typeface="+mn-lt"/>
                        </a:rPr>
                        <a:t>4.1.6 Data Warehouse</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A very large and durable store of data from a wide range of sourc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p>
                      <a:endParaRPr lang="en-US"/>
                    </a:p>
                  </a:txBody>
                  <a:tcPr/>
                </a:tc>
                <a:tc>
                  <a:txBody>
                    <a:bodyPr/>
                    <a:lstStyle/>
                    <a:p>
                      <a:pPr algn="l" fontAlgn="b"/>
                      <a:r>
                        <a:rPr lang="en-US" sz="1000" b="0" u="none" strike="noStrike">
                          <a:solidFill>
                            <a:srgbClr val="000000"/>
                          </a:solidFill>
                          <a:effectLst/>
                          <a:latin typeface="+mn-lt"/>
                        </a:rPr>
                        <a:t>4.1.7 Caching</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An in-memory, distributed-caching that provides a fast non-durable stor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06865958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u="none" strike="noStrike">
                          <a:effectLst/>
                          <a:latin typeface="+mn-lt"/>
                        </a:rPr>
                        <a:t>4.1.8 Master Data Mgmt.</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n enterprise-wide metadata catalog that enables data discovery</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tc>
                <a:tc>
                  <a:txBody>
                    <a:bodyPr/>
                    <a:lstStyle/>
                    <a:p>
                      <a:pPr algn="l" fontAlgn="b"/>
                      <a:endParaRPr lang="en-US" sz="1000" b="0" i="0" u="none" strike="noStrike">
                        <a:solidFill>
                          <a:srgbClr val="000000"/>
                        </a:solidFill>
                        <a:effectLst/>
                        <a:latin typeface="+mn-lt"/>
                      </a:endParaRPr>
                    </a:p>
                  </a:txBody>
                  <a:tcPr marL="72000" marR="72000" marT="36000" marB="36000"/>
                </a:tc>
                <a:tc>
                  <a:txBody>
                    <a:bodyPr/>
                    <a:lstStyle/>
                    <a:p>
                      <a:pPr algn="l" fontAlgn="b"/>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810863086"/>
                  </a:ext>
                </a:extLst>
              </a:tr>
            </a:tbl>
          </a:graphicData>
        </a:graphic>
      </p:graphicFrame>
    </p:spTree>
    <p:extLst>
      <p:ext uri="{BB962C8B-B14F-4D97-AF65-F5344CB8AC3E}">
        <p14:creationId xmlns:p14="http://schemas.microsoft.com/office/powerpoint/2010/main" val="2584431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60659"/>
            <a:ext cx="11115675" cy="215444"/>
          </a:xfrm>
        </p:spPr>
        <p:txBody>
          <a:bodyPr/>
          <a:lstStyle/>
          <a:p>
            <a:r>
              <a:rPr lang="en-US" b="1">
                <a:solidFill>
                  <a:schemeClr val="accent1"/>
                </a:solidFill>
                <a:latin typeface="Graphik" panose="020B0503030202060203" pitchFamily="34" charset="0"/>
              </a:rPr>
              <a:t>4. Cloud Data (2/4)</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3"/>
            <a:ext cx="2095500" cy="332839"/>
          </a:xfrm>
        </p:spPr>
        <p:txBody>
          <a:bodyPr>
            <a:normAutofit/>
          </a:bodyPr>
          <a:lstStyle/>
          <a:p>
            <a:r>
              <a:rPr lang="en-US"/>
              <a:t>4.2 Enterprise Integration </a:t>
            </a:r>
          </a:p>
          <a:p>
            <a:endParaRPr lang="en-ZA"/>
          </a:p>
        </p:txBody>
      </p:sp>
      <p:sp>
        <p:nvSpPr>
          <p:cNvPr id="15" name="Rectangle 14">
            <a:extLst>
              <a:ext uri="{FF2B5EF4-FFF2-40B4-BE49-F238E27FC236}">
                <a16:creationId xmlns:a16="http://schemas.microsoft.com/office/drawing/2014/main" id="{DBABFF14-2BFD-4C5D-8314-3F8E47A8F4D2}"/>
              </a:ext>
            </a:extLst>
          </p:cNvPr>
          <p:cNvSpPr/>
          <p:nvPr/>
        </p:nvSpPr>
        <p:spPr>
          <a:xfrm>
            <a:off x="698738" y="1909723"/>
            <a:ext cx="7711837"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bg1"/>
              </a:solidFill>
              <a:latin typeface="Graphik" panose="020B0503030202060203" pitchFamily="34" charset="0"/>
            </a:endParaRPr>
          </a:p>
        </p:txBody>
      </p:sp>
      <p:sp>
        <p:nvSpPr>
          <p:cNvPr id="16" name="Rectangle 15">
            <a:extLst>
              <a:ext uri="{FF2B5EF4-FFF2-40B4-BE49-F238E27FC236}">
                <a16:creationId xmlns:a16="http://schemas.microsoft.com/office/drawing/2014/main" id="{29F70C51-DB5F-453F-91CD-75CA9665A484}"/>
              </a:ext>
            </a:extLst>
          </p:cNvPr>
          <p:cNvSpPr/>
          <p:nvPr/>
        </p:nvSpPr>
        <p:spPr>
          <a:xfrm>
            <a:off x="880428" y="2042654"/>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1 Data Import Export</a:t>
            </a:r>
          </a:p>
        </p:txBody>
      </p:sp>
      <p:sp>
        <p:nvSpPr>
          <p:cNvPr id="17" name="Rectangle 16">
            <a:extLst>
              <a:ext uri="{FF2B5EF4-FFF2-40B4-BE49-F238E27FC236}">
                <a16:creationId xmlns:a16="http://schemas.microsoft.com/office/drawing/2014/main" id="{7EEB47F8-A8A5-4FFF-AEB0-8D7E32BCFBB5}"/>
              </a:ext>
            </a:extLst>
          </p:cNvPr>
          <p:cNvSpPr/>
          <p:nvPr/>
        </p:nvSpPr>
        <p:spPr>
          <a:xfrm>
            <a:off x="1944291"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2 Data Integration ETL</a:t>
            </a:r>
          </a:p>
        </p:txBody>
      </p:sp>
      <p:sp>
        <p:nvSpPr>
          <p:cNvPr id="18" name="Rectangle 17">
            <a:extLst>
              <a:ext uri="{FF2B5EF4-FFF2-40B4-BE49-F238E27FC236}">
                <a16:creationId xmlns:a16="http://schemas.microsoft.com/office/drawing/2014/main" id="{BEA6FC86-8E8B-48AC-A4F0-63196338A220}"/>
              </a:ext>
            </a:extLst>
          </p:cNvPr>
          <p:cNvSpPr/>
          <p:nvPr/>
        </p:nvSpPr>
        <p:spPr>
          <a:xfrm>
            <a:off x="3008154"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3 VM Import Export</a:t>
            </a:r>
          </a:p>
        </p:txBody>
      </p:sp>
      <p:sp>
        <p:nvSpPr>
          <p:cNvPr id="19" name="Rectangle 18">
            <a:extLst>
              <a:ext uri="{FF2B5EF4-FFF2-40B4-BE49-F238E27FC236}">
                <a16:creationId xmlns:a16="http://schemas.microsoft.com/office/drawing/2014/main" id="{95705CFB-6BAF-422F-A774-E090D53478CD}"/>
              </a:ext>
            </a:extLst>
          </p:cNvPr>
          <p:cNvSpPr/>
          <p:nvPr/>
        </p:nvSpPr>
        <p:spPr>
          <a:xfrm>
            <a:off x="4072017"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4 Data Migration</a:t>
            </a:r>
          </a:p>
        </p:txBody>
      </p:sp>
      <p:sp>
        <p:nvSpPr>
          <p:cNvPr id="20" name="Rectangle 19">
            <a:extLst>
              <a:ext uri="{FF2B5EF4-FFF2-40B4-BE49-F238E27FC236}">
                <a16:creationId xmlns:a16="http://schemas.microsoft.com/office/drawing/2014/main" id="{0FC72FCA-632A-4F33-9228-FF54A7E7D0E6}"/>
              </a:ext>
            </a:extLst>
          </p:cNvPr>
          <p:cNvSpPr/>
          <p:nvPr/>
        </p:nvSpPr>
        <p:spPr>
          <a:xfrm>
            <a:off x="5135880"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5 Integration Services</a:t>
            </a:r>
          </a:p>
        </p:txBody>
      </p:sp>
      <p:sp>
        <p:nvSpPr>
          <p:cNvPr id="21" name="Rectangle 20">
            <a:extLst>
              <a:ext uri="{FF2B5EF4-FFF2-40B4-BE49-F238E27FC236}">
                <a16:creationId xmlns:a16="http://schemas.microsoft.com/office/drawing/2014/main" id="{D1119EA2-5140-493E-AA28-ABA4A8387033}"/>
              </a:ext>
            </a:extLst>
          </p:cNvPr>
          <p:cNvSpPr/>
          <p:nvPr/>
        </p:nvSpPr>
        <p:spPr>
          <a:xfrm>
            <a:off x="6199743"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6 Server Migration</a:t>
            </a:r>
          </a:p>
        </p:txBody>
      </p:sp>
      <p:sp>
        <p:nvSpPr>
          <p:cNvPr id="22" name="Rectangle 170">
            <a:extLst>
              <a:ext uri="{FF2B5EF4-FFF2-40B4-BE49-F238E27FC236}">
                <a16:creationId xmlns:a16="http://schemas.microsoft.com/office/drawing/2014/main" id="{96709BDE-6C72-4C0E-9999-816AD82B2308}"/>
              </a:ext>
            </a:extLst>
          </p:cNvPr>
          <p:cNvSpPr/>
          <p:nvPr/>
        </p:nvSpPr>
        <p:spPr>
          <a:xfrm>
            <a:off x="7263606" y="204619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2.7 Enterprise App</a:t>
            </a:r>
          </a:p>
          <a:p>
            <a:pPr algn="ctr"/>
            <a:r>
              <a:rPr lang="en-US" sz="1000">
                <a:solidFill>
                  <a:schemeClr val="bg1"/>
                </a:solidFill>
                <a:latin typeface="Graphik" panose="020B0503030202060203" pitchFamily="34" charset="0"/>
              </a:rPr>
              <a:t>Integration</a:t>
            </a:r>
          </a:p>
        </p:txBody>
      </p:sp>
      <p:graphicFrame>
        <p:nvGraphicFramePr>
          <p:cNvPr id="13" name="Table 12">
            <a:extLst>
              <a:ext uri="{FF2B5EF4-FFF2-40B4-BE49-F238E27FC236}">
                <a16:creationId xmlns:a16="http://schemas.microsoft.com/office/drawing/2014/main" id="{E1D6C4B5-254E-4047-A991-6D4968ADE379}"/>
              </a:ext>
            </a:extLst>
          </p:cNvPr>
          <p:cNvGraphicFramePr>
            <a:graphicFrameLocks noGrp="1"/>
          </p:cNvGraphicFramePr>
          <p:nvPr>
            <p:extLst>
              <p:ext uri="{D42A27DB-BD31-4B8C-83A1-F6EECF244321}">
                <p14:modId xmlns:p14="http://schemas.microsoft.com/office/powerpoint/2010/main" val="4043283148"/>
              </p:ext>
            </p:extLst>
          </p:nvPr>
        </p:nvGraphicFramePr>
        <p:xfrm>
          <a:off x="695325" y="3201198"/>
          <a:ext cx="10729912" cy="17952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320150">
                  <a:extLst>
                    <a:ext uri="{9D8B030D-6E8A-4147-A177-3AD203B41FA5}">
                      <a16:colId xmlns:a16="http://schemas.microsoft.com/office/drawing/2014/main" val="20001"/>
                    </a:ext>
                  </a:extLst>
                </a:gridCol>
                <a:gridCol w="6824662">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7">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mn-lt"/>
                        </a:rPr>
                        <a:t>4.2 </a:t>
                      </a:r>
                      <a:r>
                        <a:rPr lang="en-US" sz="1000">
                          <a:latin typeface="+mn-lt"/>
                        </a:rPr>
                        <a:t>Enterprise Integration </a:t>
                      </a:r>
                      <a:endParaRPr lang="en-US" sz="1000" b="1">
                        <a:latin typeface="+mn-lt"/>
                      </a:endParaRPr>
                    </a:p>
                  </a:txBody>
                  <a:tcPr marL="72000" marR="72000" marT="36000" marB="36000"/>
                </a:tc>
                <a:tc>
                  <a:txBody>
                    <a:bodyPr/>
                    <a:lstStyle/>
                    <a:p>
                      <a:pPr algn="l" fontAlgn="b"/>
                      <a:r>
                        <a:rPr lang="en-US" sz="1000" u="none" strike="noStrike">
                          <a:effectLst/>
                          <a:latin typeface="+mn-lt"/>
                        </a:rPr>
                        <a:t>4.2.1 Data Import Export</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Data transfer to and from the cloud</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2.2 Data Integration ETL</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Manage data between data stor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2.3 VM Import Export</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rvices to support migration of on-prem servers to/from/within the cloud</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2.4 Data Migra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rvices to support migration of databases to/from/within the cloud</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solidFill>
                            <a:schemeClr val="tx1"/>
                          </a:solidFill>
                          <a:effectLst/>
                          <a:latin typeface="+mn-lt"/>
                        </a:rPr>
                        <a:t>4.2.5 Integration Services</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Scalable integrations and workflows in the cloud</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chemeClr val="tx1"/>
                          </a:solidFill>
                          <a:effectLst/>
                          <a:latin typeface="+mn-lt"/>
                        </a:rPr>
                        <a:t>4.2.6 Server Migration</a:t>
                      </a:r>
                      <a:endParaRPr lang="en-US" sz="1000" b="0" i="0" u="none" strike="noStrike">
                        <a:solidFill>
                          <a:schemeClr val="tx1"/>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chemeClr val="tx1"/>
                          </a:solidFill>
                          <a:effectLst/>
                          <a:latin typeface="+mn-lt"/>
                        </a:rPr>
                        <a:t>Services to support migration of servers to the cloud</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u="none" strike="noStrike">
                          <a:solidFill>
                            <a:schemeClr val="tx1"/>
                          </a:solidFill>
                          <a:effectLst/>
                          <a:latin typeface="+mn-lt"/>
                        </a:rPr>
                        <a:t>4.2.7 Enterprise App Integration</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Middleware services to support communication between application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879141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22699"/>
            <a:ext cx="11115675" cy="215444"/>
          </a:xfrm>
        </p:spPr>
        <p:txBody>
          <a:bodyPr/>
          <a:lstStyle/>
          <a:p>
            <a:r>
              <a:rPr lang="en-US" b="1">
                <a:solidFill>
                  <a:schemeClr val="accent1"/>
                </a:solidFill>
                <a:latin typeface="Graphik" panose="020B0503030202060203" pitchFamily="34" charset="0"/>
              </a:rPr>
              <a:t>4. Cloud Data (3/4)</a:t>
            </a:r>
            <a:endParaRPr lang="en-ZA" b="1">
              <a:solidFill>
                <a:schemeClr val="accent1"/>
              </a:solidFill>
              <a:latin typeface="Graphik" panose="020B0503030202060203" pitchFamily="34" charset="0"/>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6" y="1376364"/>
            <a:ext cx="2190750" cy="211911"/>
          </a:xfrm>
        </p:spPr>
        <p:txBody>
          <a:bodyPr>
            <a:normAutofit lnSpcReduction="10000"/>
          </a:bodyPr>
          <a:lstStyle/>
          <a:p>
            <a:r>
              <a:rPr lang="en-US"/>
              <a:t>4.3 Analytics &amp; Big Data</a:t>
            </a:r>
          </a:p>
          <a:p>
            <a:endParaRPr lang="en-ZA"/>
          </a:p>
        </p:txBody>
      </p:sp>
      <p:sp>
        <p:nvSpPr>
          <p:cNvPr id="13" name="Rectangle 12">
            <a:extLst>
              <a:ext uri="{FF2B5EF4-FFF2-40B4-BE49-F238E27FC236}">
                <a16:creationId xmlns:a16="http://schemas.microsoft.com/office/drawing/2014/main" id="{870B34B6-8B6C-496D-A3E4-FE2AAEEE9E8F}"/>
              </a:ext>
            </a:extLst>
          </p:cNvPr>
          <p:cNvSpPr/>
          <p:nvPr/>
        </p:nvSpPr>
        <p:spPr>
          <a:xfrm>
            <a:off x="695325" y="1850715"/>
            <a:ext cx="8787002"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3" name="Rectangle 22">
            <a:extLst>
              <a:ext uri="{FF2B5EF4-FFF2-40B4-BE49-F238E27FC236}">
                <a16:creationId xmlns:a16="http://schemas.microsoft.com/office/drawing/2014/main" id="{81395D6B-72EA-4F2F-8A16-1D6E8D1D0909}"/>
              </a:ext>
            </a:extLst>
          </p:cNvPr>
          <p:cNvSpPr/>
          <p:nvPr/>
        </p:nvSpPr>
        <p:spPr>
          <a:xfrm>
            <a:off x="1909257"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2 Data Discovery</a:t>
            </a:r>
          </a:p>
        </p:txBody>
      </p:sp>
      <p:sp>
        <p:nvSpPr>
          <p:cNvPr id="24" name="Rectangle 23">
            <a:extLst>
              <a:ext uri="{FF2B5EF4-FFF2-40B4-BE49-F238E27FC236}">
                <a16:creationId xmlns:a16="http://schemas.microsoft.com/office/drawing/2014/main" id="{2F480C57-FD87-4E97-B19D-BA6BB47743DC}"/>
              </a:ext>
            </a:extLst>
          </p:cNvPr>
          <p:cNvSpPr/>
          <p:nvPr/>
        </p:nvSpPr>
        <p:spPr>
          <a:xfrm>
            <a:off x="2982703"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3 Big Data Processing</a:t>
            </a:r>
          </a:p>
        </p:txBody>
      </p:sp>
      <p:sp>
        <p:nvSpPr>
          <p:cNvPr id="25" name="Rectangle 24">
            <a:extLst>
              <a:ext uri="{FF2B5EF4-FFF2-40B4-BE49-F238E27FC236}">
                <a16:creationId xmlns:a16="http://schemas.microsoft.com/office/drawing/2014/main" id="{90C18AFE-56BE-4E82-B97C-FBCA678AA3C3}"/>
              </a:ext>
            </a:extLst>
          </p:cNvPr>
          <p:cNvSpPr/>
          <p:nvPr/>
        </p:nvSpPr>
        <p:spPr>
          <a:xfrm>
            <a:off x="4056149"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4 Stream Analytics</a:t>
            </a:r>
          </a:p>
        </p:txBody>
      </p:sp>
      <p:sp>
        <p:nvSpPr>
          <p:cNvPr id="26" name="Rectangle 25">
            <a:extLst>
              <a:ext uri="{FF2B5EF4-FFF2-40B4-BE49-F238E27FC236}">
                <a16:creationId xmlns:a16="http://schemas.microsoft.com/office/drawing/2014/main" id="{F16C31FB-FE00-45DB-8467-4C90C8A2AF90}"/>
              </a:ext>
            </a:extLst>
          </p:cNvPr>
          <p:cNvSpPr/>
          <p:nvPr/>
        </p:nvSpPr>
        <p:spPr>
          <a:xfrm>
            <a:off x="5129595"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5 Visualization</a:t>
            </a:r>
          </a:p>
        </p:txBody>
      </p:sp>
      <p:sp>
        <p:nvSpPr>
          <p:cNvPr id="27" name="Rectangle 165">
            <a:extLst>
              <a:ext uri="{FF2B5EF4-FFF2-40B4-BE49-F238E27FC236}">
                <a16:creationId xmlns:a16="http://schemas.microsoft.com/office/drawing/2014/main" id="{189386EC-7F9A-48A2-AF2E-5DAAF567D567}"/>
              </a:ext>
            </a:extLst>
          </p:cNvPr>
          <p:cNvSpPr/>
          <p:nvPr/>
        </p:nvSpPr>
        <p:spPr>
          <a:xfrm>
            <a:off x="835811"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1 Data Orchestration</a:t>
            </a:r>
          </a:p>
        </p:txBody>
      </p:sp>
      <p:sp>
        <p:nvSpPr>
          <p:cNvPr id="28" name="Rectangle 27">
            <a:extLst>
              <a:ext uri="{FF2B5EF4-FFF2-40B4-BE49-F238E27FC236}">
                <a16:creationId xmlns:a16="http://schemas.microsoft.com/office/drawing/2014/main" id="{08A86090-D253-4021-BC7F-B68E560C25D4}"/>
              </a:ext>
            </a:extLst>
          </p:cNvPr>
          <p:cNvSpPr/>
          <p:nvPr/>
        </p:nvSpPr>
        <p:spPr>
          <a:xfrm>
            <a:off x="6203041"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6 Data Quality Service</a:t>
            </a:r>
          </a:p>
        </p:txBody>
      </p:sp>
      <p:sp>
        <p:nvSpPr>
          <p:cNvPr id="29" name="Rectangle 28">
            <a:extLst>
              <a:ext uri="{FF2B5EF4-FFF2-40B4-BE49-F238E27FC236}">
                <a16:creationId xmlns:a16="http://schemas.microsoft.com/office/drawing/2014/main" id="{436D9969-5228-441E-BB2B-467827D3A5AC}"/>
              </a:ext>
            </a:extLst>
          </p:cNvPr>
          <p:cNvSpPr/>
          <p:nvPr/>
        </p:nvSpPr>
        <p:spPr>
          <a:xfrm>
            <a:off x="7276487"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7 Predictive Analytics</a:t>
            </a:r>
          </a:p>
        </p:txBody>
      </p:sp>
      <p:graphicFrame>
        <p:nvGraphicFramePr>
          <p:cNvPr id="14" name="Table 13">
            <a:extLst>
              <a:ext uri="{FF2B5EF4-FFF2-40B4-BE49-F238E27FC236}">
                <a16:creationId xmlns:a16="http://schemas.microsoft.com/office/drawing/2014/main" id="{F0423E4E-7FAD-4AB3-99B2-F24577B59D66}"/>
              </a:ext>
            </a:extLst>
          </p:cNvPr>
          <p:cNvGraphicFramePr>
            <a:graphicFrameLocks noGrp="1"/>
          </p:cNvGraphicFramePr>
          <p:nvPr>
            <p:extLst>
              <p:ext uri="{D42A27DB-BD31-4B8C-83A1-F6EECF244321}">
                <p14:modId xmlns:p14="http://schemas.microsoft.com/office/powerpoint/2010/main" val="39409038"/>
              </p:ext>
            </p:extLst>
          </p:nvPr>
        </p:nvGraphicFramePr>
        <p:xfrm>
          <a:off x="695325" y="3027026"/>
          <a:ext cx="10729912" cy="20196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1828962">
                  <a:extLst>
                    <a:ext uri="{9D8B030D-6E8A-4147-A177-3AD203B41FA5}">
                      <a16:colId xmlns:a16="http://schemas.microsoft.com/office/drawing/2014/main" val="20001"/>
                    </a:ext>
                  </a:extLst>
                </a:gridCol>
                <a:gridCol w="7315850">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8">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mn-lt"/>
                        </a:rPr>
                        <a:t>4.3 Analytics &amp; Big Data</a:t>
                      </a:r>
                    </a:p>
                  </a:txBody>
                  <a:tcPr marL="72000" marR="72000" marT="36000" marB="36000"/>
                </a:tc>
                <a:tc>
                  <a:txBody>
                    <a:bodyPr/>
                    <a:lstStyle/>
                    <a:p>
                      <a:pPr algn="l" fontAlgn="b"/>
                      <a:r>
                        <a:rPr lang="en-US" sz="1000" u="none" strike="noStrike">
                          <a:effectLst/>
                          <a:latin typeface="+mn-lt"/>
                        </a:rPr>
                        <a:t>4.3.1 Data Orchestra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Create and manage data processing workload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3.2 Data Discovery</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Query services to analyze and process large data set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3.3 Big Data Process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Provision and manage analytics reporting on large data set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3.4 Stream Analytics</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Collect, process, and analyze real-time, streaming data</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3.5 Visualiza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Analytics visualization tools for business intelligence and analysi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chemeClr val="tx1"/>
                          </a:solidFill>
                          <a:effectLst/>
                          <a:latin typeface="+mn-lt"/>
                        </a:rPr>
                        <a:t>4.3.6 Data Quality Service</a:t>
                      </a:r>
                      <a:endParaRPr lang="en-US" sz="1000" b="0" i="0" u="none" strike="noStrike">
                        <a:solidFill>
                          <a:schemeClr val="tx1"/>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chemeClr val="tx1"/>
                          </a:solidFill>
                          <a:effectLst/>
                          <a:latin typeface="+mn-lt"/>
                        </a:rPr>
                        <a:t>Data cleansing and enrichment service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p>
                      <a:endParaRPr lang="en-US"/>
                    </a:p>
                  </a:txBody>
                  <a:tcPr/>
                </a:tc>
                <a:tc>
                  <a:txBody>
                    <a:bodyPr/>
                    <a:lstStyle/>
                    <a:p>
                      <a:pPr algn="l" fontAlgn="b"/>
                      <a:r>
                        <a:rPr lang="en-US" sz="1000" u="none" strike="noStrike">
                          <a:solidFill>
                            <a:schemeClr val="tx1"/>
                          </a:solidFill>
                          <a:effectLst/>
                          <a:latin typeface="+mn-lt"/>
                        </a:rPr>
                        <a:t>4.3.7 Predictive Analytics</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u="none" strike="noStrike">
                          <a:solidFill>
                            <a:schemeClr val="tx1"/>
                          </a:solidFill>
                          <a:effectLst/>
                          <a:latin typeface="+mn-lt"/>
                        </a:rPr>
                        <a:t>Predictive analytics capabilities to manage and analyze dataset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526298778"/>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u="none" strike="noStrike">
                          <a:solidFill>
                            <a:schemeClr val="tx1"/>
                          </a:solidFill>
                          <a:effectLst/>
                          <a:latin typeface="+mn-lt"/>
                        </a:rPr>
                        <a:t>4.3.8 Data Lake </a:t>
                      </a:r>
                      <a:endParaRPr lang="en-US" sz="1000" b="0" i="0" u="none" strike="noStrike">
                        <a:solidFill>
                          <a:schemeClr val="tx1"/>
                        </a:solidFill>
                        <a:effectLst/>
                        <a:latin typeface="+mn-lt"/>
                      </a:endParaRPr>
                    </a:p>
                  </a:txBody>
                  <a:tcPr marL="72000" marR="72000" marT="36000" marB="36000"/>
                </a:tc>
                <a:tc>
                  <a:txBody>
                    <a:bodyPr/>
                    <a:lstStyle/>
                    <a:p>
                      <a:pPr algn="l" fontAlgn="b"/>
                      <a:r>
                        <a:rPr lang="en-US" sz="1000" b="0" i="0" u="none" strike="noStrike" err="1">
                          <a:solidFill>
                            <a:schemeClr val="tx1"/>
                          </a:solidFill>
                          <a:effectLst/>
                          <a:latin typeface="+mn-lt"/>
                        </a:rPr>
                        <a:t>Centralised</a:t>
                      </a:r>
                      <a:r>
                        <a:rPr lang="en-US" sz="1000" b="0" i="0" u="none" strike="noStrike">
                          <a:solidFill>
                            <a:schemeClr val="tx1"/>
                          </a:solidFill>
                          <a:effectLst/>
                          <a:latin typeface="+mn-lt"/>
                        </a:rPr>
                        <a:t> repository to store both structured and unstructured data</a:t>
                      </a:r>
                    </a:p>
                  </a:txBody>
                  <a:tcPr marL="72000" marR="72000" marT="36000" marB="36000" anchor="ctr"/>
                </a:tc>
                <a:extLst>
                  <a:ext uri="{0D108BD9-81ED-4DB2-BD59-A6C34878D82A}">
                    <a16:rowId xmlns:a16="http://schemas.microsoft.com/office/drawing/2014/main" val="10009"/>
                  </a:ext>
                </a:extLst>
              </a:tr>
            </a:tbl>
          </a:graphicData>
        </a:graphic>
      </p:graphicFrame>
      <p:sp>
        <p:nvSpPr>
          <p:cNvPr id="15" name="Rectangle 14">
            <a:extLst>
              <a:ext uri="{FF2B5EF4-FFF2-40B4-BE49-F238E27FC236}">
                <a16:creationId xmlns:a16="http://schemas.microsoft.com/office/drawing/2014/main" id="{718A5292-A3AE-4ADA-9419-ABEA40A06D05}"/>
              </a:ext>
            </a:extLst>
          </p:cNvPr>
          <p:cNvSpPr/>
          <p:nvPr/>
        </p:nvSpPr>
        <p:spPr>
          <a:xfrm>
            <a:off x="8349934" y="1985385"/>
            <a:ext cx="103181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3.8</a:t>
            </a:r>
          </a:p>
          <a:p>
            <a:pPr algn="ctr"/>
            <a:r>
              <a:rPr lang="en-US" sz="1000">
                <a:solidFill>
                  <a:schemeClr val="bg1"/>
                </a:solidFill>
                <a:latin typeface="Graphik" panose="020B0503030202060203" pitchFamily="34" charset="0"/>
              </a:rPr>
              <a:t>Data Lake</a:t>
            </a:r>
          </a:p>
        </p:txBody>
      </p:sp>
    </p:spTree>
    <p:extLst>
      <p:ext uri="{BB962C8B-B14F-4D97-AF65-F5344CB8AC3E}">
        <p14:creationId xmlns:p14="http://schemas.microsoft.com/office/powerpoint/2010/main" val="1883859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4B95A-D9A0-3946-94E7-DFBF0E4EA89D}"/>
              </a:ext>
            </a:extLst>
          </p:cNvPr>
          <p:cNvSpPr>
            <a:spLocks noGrp="1"/>
          </p:cNvSpPr>
          <p:nvPr>
            <p:ph type="title"/>
          </p:nvPr>
        </p:nvSpPr>
        <p:spPr/>
        <p:txBody>
          <a:bodyPr/>
          <a:lstStyle/>
          <a:p>
            <a:r>
              <a:rPr lang="en-US"/>
              <a:t>Document control &amp; contacts</a:t>
            </a:r>
          </a:p>
        </p:txBody>
      </p:sp>
      <p:sp>
        <p:nvSpPr>
          <p:cNvPr id="10" name="Text Placeholder 9">
            <a:extLst>
              <a:ext uri="{FF2B5EF4-FFF2-40B4-BE49-F238E27FC236}">
                <a16:creationId xmlns:a16="http://schemas.microsoft.com/office/drawing/2014/main" id="{744037D0-53EE-4908-9B4E-4AF6F7093968}"/>
              </a:ext>
            </a:extLst>
          </p:cNvPr>
          <p:cNvSpPr>
            <a:spLocks noGrp="1"/>
          </p:cNvSpPr>
          <p:nvPr>
            <p:ph type="body" sz="quarter" idx="11"/>
          </p:nvPr>
        </p:nvSpPr>
        <p:spPr>
          <a:xfrm>
            <a:off x="695325" y="1244393"/>
            <a:ext cx="2632761" cy="2462213"/>
          </a:xfrm>
        </p:spPr>
        <p:txBody>
          <a:bodyPr/>
          <a:lstStyle/>
          <a:p>
            <a:pPr lvl="0"/>
            <a:r>
              <a:rPr lang="en-US" dirty="0"/>
              <a:t>Koenraad Schelfaut</a:t>
            </a:r>
          </a:p>
          <a:p>
            <a:pPr lvl="1"/>
            <a:r>
              <a:rPr lang="en-US" sz="1000" dirty="0"/>
              <a:t>Tech Strategy and Advisory – Global Lead</a:t>
            </a:r>
            <a:endParaRPr lang="en-US" dirty="0"/>
          </a:p>
          <a:p>
            <a:r>
              <a:rPr lang="en-US" dirty="0"/>
              <a:t>James Burrows </a:t>
            </a:r>
          </a:p>
          <a:p>
            <a:pPr lvl="1"/>
            <a:r>
              <a:rPr lang="en-US" sz="1000" dirty="0"/>
              <a:t>Industry - Network Lead</a:t>
            </a:r>
            <a:endParaRPr lang="en-US" dirty="0"/>
          </a:p>
          <a:p>
            <a:pPr lvl="0"/>
            <a:r>
              <a:rPr lang="en-US" dirty="0"/>
              <a:t>Andrew Long</a:t>
            </a:r>
          </a:p>
          <a:p>
            <a:pPr lvl="1"/>
            <a:r>
              <a:rPr lang="en-US" sz="1000" dirty="0"/>
              <a:t>Enterprise Architecture Strategy – Global Lead </a:t>
            </a:r>
          </a:p>
          <a:p>
            <a:endParaRPr lang="en-US" sz="500" dirty="0">
              <a:solidFill>
                <a:schemeClr val="accent2"/>
              </a:solidFill>
            </a:endParaRPr>
          </a:p>
          <a:p>
            <a:r>
              <a:rPr lang="en-US" dirty="0">
                <a:solidFill>
                  <a:schemeClr val="accent2"/>
                </a:solidFill>
              </a:rPr>
              <a:t>Executive Review Board</a:t>
            </a:r>
          </a:p>
          <a:p>
            <a:pPr lvl="0"/>
            <a:r>
              <a:rPr lang="en-US" dirty="0"/>
              <a:t>Giuliano  Benincasa</a:t>
            </a:r>
          </a:p>
          <a:p>
            <a:pPr lvl="1"/>
            <a:r>
              <a:rPr lang="en-US" sz="1000" dirty="0"/>
              <a:t>Technology Strategy &amp; Advisory</a:t>
            </a:r>
            <a:endParaRPr lang="en-ZA" sz="1000" dirty="0"/>
          </a:p>
        </p:txBody>
      </p:sp>
      <p:sp>
        <p:nvSpPr>
          <p:cNvPr id="12" name="Text Placeholder 11">
            <a:extLst>
              <a:ext uri="{FF2B5EF4-FFF2-40B4-BE49-F238E27FC236}">
                <a16:creationId xmlns:a16="http://schemas.microsoft.com/office/drawing/2014/main" id="{195791EC-B1FC-460A-9398-0B038A8825F0}"/>
              </a:ext>
            </a:extLst>
          </p:cNvPr>
          <p:cNvSpPr>
            <a:spLocks noGrp="1"/>
          </p:cNvSpPr>
          <p:nvPr>
            <p:ph type="body" sz="quarter" idx="13"/>
          </p:nvPr>
        </p:nvSpPr>
        <p:spPr>
          <a:xfrm>
            <a:off x="6350601" y="1244393"/>
            <a:ext cx="2632761" cy="2816156"/>
          </a:xfrm>
        </p:spPr>
        <p:txBody>
          <a:bodyPr/>
          <a:lstStyle/>
          <a:p>
            <a:pPr lvl="0"/>
            <a:r>
              <a:rPr lang="en-US" dirty="0"/>
              <a:t>Thomas </a:t>
            </a:r>
            <a:r>
              <a:rPr lang="en-US" dirty="0" err="1"/>
              <a:t>Snelgrove</a:t>
            </a:r>
            <a:endParaRPr lang="en-US" dirty="0"/>
          </a:p>
          <a:p>
            <a:pPr lvl="1"/>
            <a:r>
              <a:rPr lang="en-US" sz="1000" dirty="0"/>
              <a:t>Senior Manager – Technology Strategy &amp; Advisory</a:t>
            </a:r>
          </a:p>
          <a:p>
            <a:pPr lvl="1"/>
            <a:endParaRPr lang="en-US" sz="1000" dirty="0"/>
          </a:p>
          <a:p>
            <a:pPr lvl="0"/>
            <a:r>
              <a:rPr lang="en-US" dirty="0"/>
              <a:t>Arijit Ghoshal</a:t>
            </a:r>
          </a:p>
          <a:p>
            <a:pPr lvl="1"/>
            <a:r>
              <a:rPr lang="en-US" sz="1000" dirty="0"/>
              <a:t>Senior Manager – Technology Strategy &amp; Advisory</a:t>
            </a:r>
          </a:p>
          <a:p>
            <a:pPr lvl="1"/>
            <a:endParaRPr lang="en-US" sz="1000" dirty="0">
              <a:solidFill>
                <a:schemeClr val="accent2"/>
              </a:solidFill>
            </a:endParaRPr>
          </a:p>
          <a:p>
            <a:pPr lvl="0"/>
            <a:r>
              <a:rPr lang="en-US" sz="1200" dirty="0">
                <a:solidFill>
                  <a:schemeClr val="accent2"/>
                </a:solidFill>
              </a:rPr>
              <a:t>ETB Team </a:t>
            </a:r>
          </a:p>
          <a:p>
            <a:pPr lvl="0"/>
            <a:r>
              <a:rPr lang="fi-FI" dirty="0"/>
              <a:t>Shaalin Nathwani </a:t>
            </a:r>
          </a:p>
          <a:p>
            <a:pPr lvl="0"/>
            <a:r>
              <a:rPr lang="en-US" sz="1000" b="0" dirty="0"/>
              <a:t>Consultant – Technology Strategy &amp; Advisory</a:t>
            </a:r>
          </a:p>
          <a:p>
            <a:pPr lvl="1"/>
            <a:endParaRPr lang="en-US" sz="1000" dirty="0"/>
          </a:p>
        </p:txBody>
      </p:sp>
      <p:sp>
        <p:nvSpPr>
          <p:cNvPr id="13" name="Text Placeholder 12">
            <a:extLst>
              <a:ext uri="{FF2B5EF4-FFF2-40B4-BE49-F238E27FC236}">
                <a16:creationId xmlns:a16="http://schemas.microsoft.com/office/drawing/2014/main" id="{6FF6985F-A826-4032-A861-E6E605AB7544}"/>
              </a:ext>
            </a:extLst>
          </p:cNvPr>
          <p:cNvSpPr>
            <a:spLocks noGrp="1"/>
          </p:cNvSpPr>
          <p:nvPr>
            <p:ph type="body" sz="quarter" idx="14"/>
          </p:nvPr>
        </p:nvSpPr>
        <p:spPr>
          <a:xfrm>
            <a:off x="9178239" y="1299722"/>
            <a:ext cx="2632761" cy="1231106"/>
          </a:xfrm>
        </p:spPr>
        <p:txBody>
          <a:bodyPr/>
          <a:lstStyle/>
          <a:p>
            <a:r>
              <a:rPr lang="en-US" err="1"/>
              <a:t>Samuel.J.Gunn</a:t>
            </a:r>
            <a:endParaRPr lang="en-US"/>
          </a:p>
          <a:p>
            <a:r>
              <a:rPr lang="en-US" err="1"/>
              <a:t>Yuriy.Skopets</a:t>
            </a:r>
            <a:endParaRPr lang="en-US"/>
          </a:p>
          <a:p>
            <a:r>
              <a:rPr lang="en-US" err="1"/>
              <a:t>Graham.C.Paul</a:t>
            </a:r>
            <a:endParaRPr lang="en-US"/>
          </a:p>
          <a:p>
            <a:r>
              <a:rPr lang="en-US" err="1"/>
              <a:t>Louise.Moggach</a:t>
            </a:r>
            <a:endParaRPr lang="en-US"/>
          </a:p>
          <a:p>
            <a:endParaRPr lang="en-ZA"/>
          </a:p>
        </p:txBody>
      </p:sp>
      <p:grpSp>
        <p:nvGrpSpPr>
          <p:cNvPr id="493" name="Group 492">
            <a:extLst>
              <a:ext uri="{FF2B5EF4-FFF2-40B4-BE49-F238E27FC236}">
                <a16:creationId xmlns:a16="http://schemas.microsoft.com/office/drawing/2014/main" id="{63D6735D-B2F7-48F5-9122-0FD8574B409E}"/>
              </a:ext>
            </a:extLst>
          </p:cNvPr>
          <p:cNvGrpSpPr/>
          <p:nvPr/>
        </p:nvGrpSpPr>
        <p:grpSpPr>
          <a:xfrm>
            <a:off x="695324" y="6010047"/>
            <a:ext cx="11115675" cy="308760"/>
            <a:chOff x="484097" y="4431069"/>
            <a:chExt cx="7950972" cy="231570"/>
          </a:xfrm>
        </p:grpSpPr>
        <p:cxnSp>
          <p:nvCxnSpPr>
            <p:cNvPr id="494" name="Straight Connector 493">
              <a:extLst>
                <a:ext uri="{FF2B5EF4-FFF2-40B4-BE49-F238E27FC236}">
                  <a16:creationId xmlns:a16="http://schemas.microsoft.com/office/drawing/2014/main" id="{98B91163-4550-4DA1-83E3-5DA0414B36D4}"/>
                </a:ext>
              </a:extLst>
            </p:cNvPr>
            <p:cNvCxnSpPr>
              <a:cxnSpLocks/>
            </p:cNvCxnSpPr>
            <p:nvPr/>
          </p:nvCxnSpPr>
          <p:spPr>
            <a:xfrm>
              <a:off x="484097" y="4431069"/>
              <a:ext cx="7950972" cy="0"/>
            </a:xfrm>
            <a:prstGeom prst="line">
              <a:avLst/>
            </a:prstGeom>
            <a:noFill/>
            <a:ln w="2921" cap="flat" cmpd="sng" algn="ctr">
              <a:solidFill>
                <a:srgbClr val="778888"/>
              </a:solidFill>
              <a:prstDash val="solid"/>
            </a:ln>
            <a:effectLst/>
          </p:spPr>
        </p:cxnSp>
        <p:sp>
          <p:nvSpPr>
            <p:cNvPr id="495" name="Content Placeholder 4">
              <a:extLst>
                <a:ext uri="{FF2B5EF4-FFF2-40B4-BE49-F238E27FC236}">
                  <a16:creationId xmlns:a16="http://schemas.microsoft.com/office/drawing/2014/main" id="{3C78D542-7D5A-4D20-8F5E-7D83B478A691}"/>
                </a:ext>
              </a:extLst>
            </p:cNvPr>
            <p:cNvSpPr txBox="1">
              <a:spLocks/>
            </p:cNvSpPr>
            <p:nvPr/>
          </p:nvSpPr>
          <p:spPr>
            <a:xfrm>
              <a:off x="484097" y="4438181"/>
              <a:ext cx="7950972" cy="224458"/>
            </a:xfrm>
            <a:prstGeom prst="rect">
              <a:avLst/>
            </a:prstGeom>
            <a:ln>
              <a:noFill/>
            </a:ln>
          </p:spPr>
          <p:txBody>
            <a:bodyPr vert="horz" lIns="0" tIns="0" rIns="0" bIns="0" numCol="1" spcCol="360000" rtlCol="0" anchor="ctr">
              <a:noAutofit/>
            </a:bodyPr>
            <a:lstStyle>
              <a:lvl1pPr marL="0" indent="0" algn="l" defTabSz="457200" rtl="0" eaLnBrk="1" latinLnBrk="0" hangingPunct="1">
                <a:spcBef>
                  <a:spcPct val="20000"/>
                </a:spcBef>
                <a:buFont typeface="Arial"/>
                <a:buNone/>
                <a:defRPr sz="1400" b="0" kern="1200" baseline="0">
                  <a:solidFill>
                    <a:srgbClr val="666666"/>
                  </a:solidFill>
                  <a:latin typeface="+mn-lt"/>
                  <a:ea typeface="+mn-ea"/>
                  <a:cs typeface="+mn-cs"/>
                </a:defRPr>
              </a:lvl1pPr>
              <a:lvl2pPr marL="742950" indent="-285750" algn="l" defTabSz="457200" rtl="0" eaLnBrk="1" latinLnBrk="0" hangingPunct="1">
                <a:spcBef>
                  <a:spcPct val="20000"/>
                </a:spcBef>
                <a:buFont typeface="Arial"/>
                <a:buChar char="•"/>
                <a:defRPr sz="1400" b="0" kern="1200" baseline="0">
                  <a:solidFill>
                    <a:srgbClr val="666666"/>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GB" sz="1600" b="1" i="0" u="none" strike="noStrike" kern="1200" cap="none" spc="0" normalizeH="0" baseline="0" noProof="0" dirty="0">
                  <a:ln>
                    <a:noFill/>
                  </a:ln>
                  <a:solidFill>
                    <a:srgbClr val="7900BF"/>
                  </a:solidFill>
                  <a:effectLst/>
                  <a:uLnTx/>
                  <a:uFillTx/>
                  <a:latin typeface="Graphik" panose="020B0503030202060203" pitchFamily="34" charset="0"/>
                  <a:ea typeface="+mn-ea"/>
                  <a:cs typeface="+mn-cs"/>
                </a:rPr>
                <a:t>Version: </a:t>
              </a:r>
              <a:r>
                <a:rPr lang="en-US" sz="1333" b="1" dirty="0">
                  <a:solidFill>
                    <a:prstClr val="black"/>
                  </a:solidFill>
                  <a:latin typeface="Graphik" panose="020B0503030202060203" pitchFamily="34" charset="0"/>
                </a:rPr>
                <a:t>1</a:t>
              </a:r>
              <a:r>
                <a:rPr kumimoji="0" lang="en-US" sz="1333" b="1"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0</a:t>
              </a:r>
              <a:r>
                <a:rPr kumimoji="0" lang="en-US" sz="1333" b="1" i="0" u="none" strike="noStrike" kern="1200" cap="none" spc="0" normalizeH="0" baseline="0" noProof="0">
                  <a:ln>
                    <a:noFill/>
                  </a:ln>
                  <a:solidFill>
                    <a:prstClr val="black"/>
                  </a:solidFill>
                  <a:effectLst/>
                  <a:uLnTx/>
                  <a:uFillTx/>
                  <a:latin typeface="Graphik" panose="020B0503030202060203" pitchFamily="34" charset="0"/>
                  <a:ea typeface="+mn-ea"/>
                  <a:cs typeface="+mn-cs"/>
                </a:rPr>
                <a:t>, March </a:t>
              </a:r>
              <a:r>
                <a:rPr kumimoji="0" lang="en-US" sz="1333" b="1"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2022</a:t>
              </a:r>
              <a:endParaRPr kumimoji="0" lang="en-GB" sz="1333" b="1"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cxnSp>
          <p:nvCxnSpPr>
            <p:cNvPr id="496" name="Straight Connector 495">
              <a:extLst>
                <a:ext uri="{FF2B5EF4-FFF2-40B4-BE49-F238E27FC236}">
                  <a16:creationId xmlns:a16="http://schemas.microsoft.com/office/drawing/2014/main" id="{0C012688-34A9-4479-B7B2-952224194164}"/>
                </a:ext>
              </a:extLst>
            </p:cNvPr>
            <p:cNvCxnSpPr>
              <a:cxnSpLocks/>
            </p:cNvCxnSpPr>
            <p:nvPr/>
          </p:nvCxnSpPr>
          <p:spPr>
            <a:xfrm>
              <a:off x="484097" y="4662639"/>
              <a:ext cx="7950972" cy="0"/>
            </a:xfrm>
            <a:prstGeom prst="line">
              <a:avLst/>
            </a:prstGeom>
            <a:noFill/>
            <a:ln w="2921" cap="flat" cmpd="sng" algn="ctr">
              <a:solidFill>
                <a:srgbClr val="778888"/>
              </a:solidFill>
              <a:prstDash val="solid"/>
            </a:ln>
            <a:effectLst/>
          </p:spPr>
        </p:cxnSp>
      </p:grpSp>
      <p:sp>
        <p:nvSpPr>
          <p:cNvPr id="502" name="Rectangle 501">
            <a:extLst>
              <a:ext uri="{FF2B5EF4-FFF2-40B4-BE49-F238E27FC236}">
                <a16:creationId xmlns:a16="http://schemas.microsoft.com/office/drawing/2014/main" id="{2D6317EB-5D54-4FEB-9226-600158F0C2F5}"/>
              </a:ext>
            </a:extLst>
          </p:cNvPr>
          <p:cNvSpPr/>
          <p:nvPr/>
        </p:nvSpPr>
        <p:spPr>
          <a:xfrm>
            <a:off x="9867900" y="382452"/>
            <a:ext cx="1943099" cy="405683"/>
          </a:xfrm>
          <a:prstGeom prst="rect">
            <a:avLst/>
          </a:prstGeom>
          <a:solidFill>
            <a:schemeClr val="bg1"/>
          </a:solidFill>
          <a:ln w="19050">
            <a:solidFill>
              <a:schemeClr val="tx1"/>
            </a:solidFill>
          </a:ln>
        </p:spPr>
        <p:txBody>
          <a:bodyPr wrap="square" lIns="72000" tIns="36000" rIns="72000" bIns="36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Graphik"/>
                <a:ea typeface="+mn-ea"/>
                <a:cs typeface="+mn-cs"/>
              </a:rPr>
              <a:t>Internal material only. </a:t>
            </a:r>
            <a:br>
              <a:rPr kumimoji="0" lang="en-GB" sz="1050" b="0" i="0" u="none" strike="noStrike" kern="1200" cap="none" spc="0" normalizeH="0" baseline="0" noProof="0">
                <a:ln>
                  <a:noFill/>
                </a:ln>
                <a:solidFill>
                  <a:srgbClr val="000000"/>
                </a:solidFill>
                <a:effectLst/>
                <a:uLnTx/>
                <a:uFillTx/>
                <a:latin typeface="Graphik"/>
                <a:ea typeface="+mn-ea"/>
                <a:cs typeface="+mn-cs"/>
              </a:rPr>
            </a:br>
            <a:r>
              <a:rPr kumimoji="0" lang="en-GB" sz="1050" b="0" i="0" u="none" strike="noStrike" kern="1200" cap="none" spc="0" normalizeH="0" baseline="0" noProof="0">
                <a:ln>
                  <a:noFill/>
                </a:ln>
                <a:solidFill>
                  <a:srgbClr val="000000"/>
                </a:solidFill>
                <a:effectLst/>
                <a:uLnTx/>
                <a:uFillTx/>
                <a:latin typeface="Graphik"/>
                <a:ea typeface="+mn-ea"/>
                <a:cs typeface="+mn-cs"/>
              </a:rPr>
              <a:t>Not to be sent to clients</a:t>
            </a:r>
            <a:endParaRPr kumimoji="0" lang="en-US" sz="1050" b="0" i="0" u="none" strike="noStrike" kern="1200" cap="none" spc="0" normalizeH="0" baseline="0" noProof="0">
              <a:ln>
                <a:noFill/>
              </a:ln>
              <a:solidFill>
                <a:srgbClr val="000000"/>
              </a:solidFill>
              <a:effectLst/>
              <a:uLnTx/>
              <a:uFillTx/>
              <a:latin typeface="Graphik"/>
              <a:ea typeface="+mn-ea"/>
              <a:cs typeface="+mn-cs"/>
            </a:endParaRPr>
          </a:p>
        </p:txBody>
      </p:sp>
      <p:sp>
        <p:nvSpPr>
          <p:cNvPr id="49" name="Text Placeholder 9">
            <a:extLst>
              <a:ext uri="{FF2B5EF4-FFF2-40B4-BE49-F238E27FC236}">
                <a16:creationId xmlns:a16="http://schemas.microsoft.com/office/drawing/2014/main" id="{FBCD4986-BE8F-4929-A56D-C2BD0DB3B4FF}"/>
              </a:ext>
            </a:extLst>
          </p:cNvPr>
          <p:cNvSpPr txBox="1">
            <a:spLocks/>
          </p:cNvSpPr>
          <p:nvPr/>
        </p:nvSpPr>
        <p:spPr>
          <a:xfrm>
            <a:off x="695325" y="991765"/>
            <a:ext cx="1513235" cy="184666"/>
          </a:xfrm>
          <a:prstGeom prst="rect">
            <a:avLst/>
          </a:prstGeom>
        </p:spPr>
        <p:txBody>
          <a:bodyPr vert="horz" wrap="none" lIns="0" tIns="0" rIns="0" bIns="0" rtlCol="0">
            <a:spAutoFit/>
          </a:bodyPr>
          <a:lstStyle>
            <a:lvl1pPr marL="0" indent="0" algn="l" defTabSz="228600" rtl="0" eaLnBrk="1" latinLnBrk="0" hangingPunct="1">
              <a:lnSpc>
                <a:spcPct val="100000"/>
              </a:lnSpc>
              <a:spcBef>
                <a:spcPts val="300"/>
              </a:spcBef>
              <a:spcAft>
                <a:spcPts val="300"/>
              </a:spcAft>
              <a:buFont typeface="Arial" panose="020B0604020202020204" pitchFamily="34" charset="0"/>
              <a:buNone/>
              <a:defRPr sz="11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1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1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1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1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7500C0"/>
                </a:solidFill>
                <a:effectLst/>
                <a:uLnTx/>
                <a:uFillTx/>
                <a:latin typeface="Graphik"/>
                <a:ea typeface="+mn-ea"/>
                <a:cs typeface="+mn-cs"/>
              </a:rPr>
              <a:t>Executive Sponsors</a:t>
            </a:r>
            <a:endParaRPr kumimoji="0" lang="en-ZA" sz="1200" b="1" i="0" u="none" strike="noStrike" kern="1200" cap="none" spc="0" normalizeH="0" baseline="0" noProof="0">
              <a:ln>
                <a:noFill/>
              </a:ln>
              <a:solidFill>
                <a:srgbClr val="000000"/>
              </a:solidFill>
              <a:effectLst/>
              <a:uLnTx/>
              <a:uFillTx/>
              <a:latin typeface="Graphik"/>
              <a:ea typeface="+mn-ea"/>
              <a:cs typeface="+mn-cs"/>
            </a:endParaRPr>
          </a:p>
        </p:txBody>
      </p:sp>
      <p:sp>
        <p:nvSpPr>
          <p:cNvPr id="51" name="Text Placeholder 11">
            <a:extLst>
              <a:ext uri="{FF2B5EF4-FFF2-40B4-BE49-F238E27FC236}">
                <a16:creationId xmlns:a16="http://schemas.microsoft.com/office/drawing/2014/main" id="{5ACB7C12-BAE4-496E-8A0D-CD807C07D339}"/>
              </a:ext>
            </a:extLst>
          </p:cNvPr>
          <p:cNvSpPr txBox="1">
            <a:spLocks/>
          </p:cNvSpPr>
          <p:nvPr/>
        </p:nvSpPr>
        <p:spPr>
          <a:xfrm>
            <a:off x="6350601" y="991765"/>
            <a:ext cx="1189428" cy="184666"/>
          </a:xfrm>
          <a:prstGeom prst="rect">
            <a:avLst/>
          </a:prstGeom>
        </p:spPr>
        <p:txBody>
          <a:bodyPr vert="horz" wrap="none" lIns="0" tIns="0" rIns="0" bIns="0" rtlCol="0">
            <a:spAutoFit/>
          </a:bodyPr>
          <a:lstStyle>
            <a:defPPr>
              <a:defRPr lang="en-US"/>
            </a:defPPr>
            <a:lvl1pPr indent="0" defTabSz="228600">
              <a:lnSpc>
                <a:spcPct val="100000"/>
              </a:lnSpc>
              <a:spcBef>
                <a:spcPts val="300"/>
              </a:spcBef>
              <a:spcAft>
                <a:spcPts val="300"/>
              </a:spcAft>
              <a:buFont typeface="Arial" panose="020B0604020202020204" pitchFamily="34" charset="0"/>
              <a:buNone/>
              <a:defRPr sz="1200" b="1">
                <a:solidFill>
                  <a:schemeClr val="accent2"/>
                </a:solidFill>
              </a:defRPr>
            </a:lvl1pPr>
            <a:lvl2pPr marL="0" indent="0" defTabSz="228600">
              <a:lnSpc>
                <a:spcPct val="100000"/>
              </a:lnSpc>
              <a:spcBef>
                <a:spcPts val="300"/>
              </a:spcBef>
              <a:spcAft>
                <a:spcPts val="300"/>
              </a:spcAft>
              <a:buClrTx/>
              <a:buFont typeface="Arial" panose="020B0604020202020204" pitchFamily="34" charset="0"/>
              <a:buNone/>
              <a:defRPr sz="1100"/>
            </a:lvl2pPr>
            <a:lvl3pPr marL="144000" indent="-144000" defTabSz="228600">
              <a:lnSpc>
                <a:spcPct val="100000"/>
              </a:lnSpc>
              <a:spcBef>
                <a:spcPts val="300"/>
              </a:spcBef>
              <a:spcAft>
                <a:spcPts val="300"/>
              </a:spcAft>
              <a:buFont typeface="Arial" panose="020B0604020202020204" pitchFamily="34" charset="0"/>
              <a:buChar char="•"/>
              <a:defRPr sz="1100"/>
            </a:lvl3pPr>
            <a:lvl4pPr marL="288000" indent="-144000" defTabSz="228600">
              <a:lnSpc>
                <a:spcPct val="100000"/>
              </a:lnSpc>
              <a:spcBef>
                <a:spcPts val="300"/>
              </a:spcBef>
              <a:spcAft>
                <a:spcPts val="300"/>
              </a:spcAft>
              <a:buFont typeface="Graphik" panose="020B0503030202060203" pitchFamily="34" charset="0"/>
              <a:buChar char="–"/>
              <a:defRPr sz="1100"/>
            </a:lvl4pPr>
            <a:lvl5pPr marL="432000" indent="-144000" defTabSz="228600">
              <a:lnSpc>
                <a:spcPct val="100000"/>
              </a:lnSpc>
              <a:spcBef>
                <a:spcPts val="300"/>
              </a:spcBef>
              <a:spcAft>
                <a:spcPts val="300"/>
              </a:spcAft>
              <a:buFont typeface="Arial" panose="020B0604020202020204" pitchFamily="34" charset="0"/>
              <a:buChar char="•"/>
              <a:defRPr sz="1100"/>
            </a:lvl5pPr>
            <a:lvl6pPr marL="11113" indent="0" defTabSz="228600">
              <a:lnSpc>
                <a:spcPct val="90000"/>
              </a:lnSpc>
              <a:spcBef>
                <a:spcPts val="0"/>
              </a:spcBef>
              <a:spcAft>
                <a:spcPts val="1200"/>
              </a:spcAft>
              <a:buFont typeface="Graphik" panose="020B0503030202060203" pitchFamily="34" charset="0"/>
              <a:buNone/>
              <a:tabLst/>
              <a:defRPr sz="1600"/>
            </a:lvl6pPr>
            <a:lvl7pPr marL="0" indent="0" defTabSz="228600">
              <a:lnSpc>
                <a:spcPct val="90000"/>
              </a:lnSpc>
              <a:spcBef>
                <a:spcPts val="0"/>
              </a:spcBef>
              <a:spcAft>
                <a:spcPts val="1200"/>
              </a:spcAft>
              <a:buFont typeface="Arial" panose="020B0604020202020204" pitchFamily="34" charset="0"/>
              <a:buNone/>
              <a:defRPr sz="1200"/>
            </a:lvl7pPr>
            <a:lvl8pPr marL="0" indent="0" defTabSz="228600">
              <a:lnSpc>
                <a:spcPct val="90000"/>
              </a:lnSpc>
              <a:spcBef>
                <a:spcPts val="0"/>
              </a:spcBef>
              <a:spcAft>
                <a:spcPts val="1200"/>
              </a:spcAft>
              <a:buFont typeface="Arial" panose="020B0604020202020204" pitchFamily="34" charset="0"/>
              <a:buNone/>
              <a:defRPr sz="1000" b="1"/>
            </a:lvl8pPr>
            <a:lvl9pPr marL="0" indent="0" defTabSz="228600">
              <a:lnSpc>
                <a:spcPct val="90000"/>
              </a:lnSpc>
              <a:spcBef>
                <a:spcPts val="0"/>
              </a:spcBef>
              <a:spcAft>
                <a:spcPts val="1200"/>
              </a:spcAft>
              <a:buFont typeface="Arial" panose="020B0604020202020204" pitchFamily="34" charset="0"/>
              <a:buNone/>
              <a:defRPr sz="800">
                <a:solidFill>
                  <a:schemeClr val="tx2"/>
                </a:solidFill>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7500C0"/>
                </a:solidFill>
                <a:effectLst/>
                <a:uLnTx/>
                <a:uFillTx/>
                <a:latin typeface="Graphik"/>
                <a:ea typeface="+mn-ea"/>
                <a:cs typeface="+mn-cs"/>
              </a:rPr>
              <a:t>Cloud ETB Lead</a:t>
            </a:r>
            <a:endParaRPr kumimoji="0" lang="en-ZA" sz="1200" b="1" i="0" u="none" strike="noStrike" kern="1200" cap="none" spc="0" normalizeH="0" baseline="0" noProof="0">
              <a:ln>
                <a:noFill/>
              </a:ln>
              <a:solidFill>
                <a:srgbClr val="7500C0"/>
              </a:solidFill>
              <a:effectLst/>
              <a:uLnTx/>
              <a:uFillTx/>
              <a:latin typeface="Graphik"/>
              <a:ea typeface="+mn-ea"/>
              <a:cs typeface="+mn-cs"/>
            </a:endParaRPr>
          </a:p>
        </p:txBody>
      </p:sp>
      <p:sp>
        <p:nvSpPr>
          <p:cNvPr id="52" name="Text Placeholder 12">
            <a:extLst>
              <a:ext uri="{FF2B5EF4-FFF2-40B4-BE49-F238E27FC236}">
                <a16:creationId xmlns:a16="http://schemas.microsoft.com/office/drawing/2014/main" id="{9A777692-7963-4863-B58F-79CEAE818C56}"/>
              </a:ext>
            </a:extLst>
          </p:cNvPr>
          <p:cNvSpPr txBox="1">
            <a:spLocks/>
          </p:cNvSpPr>
          <p:nvPr/>
        </p:nvSpPr>
        <p:spPr>
          <a:xfrm>
            <a:off x="9178239" y="991765"/>
            <a:ext cx="801501" cy="184666"/>
          </a:xfrm>
          <a:prstGeom prst="rect">
            <a:avLst/>
          </a:prstGeom>
        </p:spPr>
        <p:txBody>
          <a:bodyPr vert="horz" wrap="none" lIns="0" tIns="0" rIns="0" bIns="0" rtlCol="0">
            <a:spAutoFit/>
          </a:bodyPr>
          <a:lstStyle>
            <a:defPPr>
              <a:defRPr lang="en-US"/>
            </a:defPPr>
            <a:lvl1pPr indent="0" defTabSz="228600">
              <a:lnSpc>
                <a:spcPct val="100000"/>
              </a:lnSpc>
              <a:spcBef>
                <a:spcPts val="300"/>
              </a:spcBef>
              <a:spcAft>
                <a:spcPts val="300"/>
              </a:spcAft>
              <a:buFont typeface="Arial" panose="020B0604020202020204" pitchFamily="34" charset="0"/>
              <a:buNone/>
              <a:defRPr sz="1200" b="1">
                <a:solidFill>
                  <a:schemeClr val="accent2"/>
                </a:solidFill>
              </a:defRPr>
            </a:lvl1pPr>
            <a:lvl2pPr marL="0" indent="0" defTabSz="228600">
              <a:lnSpc>
                <a:spcPct val="100000"/>
              </a:lnSpc>
              <a:spcBef>
                <a:spcPts val="300"/>
              </a:spcBef>
              <a:spcAft>
                <a:spcPts val="300"/>
              </a:spcAft>
              <a:buClrTx/>
              <a:buFont typeface="Arial" panose="020B0604020202020204" pitchFamily="34" charset="0"/>
              <a:buNone/>
              <a:defRPr sz="1100"/>
            </a:lvl2pPr>
            <a:lvl3pPr marL="144000" indent="-144000" defTabSz="228600">
              <a:lnSpc>
                <a:spcPct val="100000"/>
              </a:lnSpc>
              <a:spcBef>
                <a:spcPts val="300"/>
              </a:spcBef>
              <a:spcAft>
                <a:spcPts val="300"/>
              </a:spcAft>
              <a:buFont typeface="Arial" panose="020B0604020202020204" pitchFamily="34" charset="0"/>
              <a:buChar char="•"/>
              <a:defRPr sz="1100"/>
            </a:lvl3pPr>
            <a:lvl4pPr marL="288000" indent="-144000" defTabSz="228600">
              <a:lnSpc>
                <a:spcPct val="100000"/>
              </a:lnSpc>
              <a:spcBef>
                <a:spcPts val="300"/>
              </a:spcBef>
              <a:spcAft>
                <a:spcPts val="300"/>
              </a:spcAft>
              <a:buFont typeface="Graphik" panose="020B0503030202060203" pitchFamily="34" charset="0"/>
              <a:buChar char="–"/>
              <a:defRPr sz="1100"/>
            </a:lvl4pPr>
            <a:lvl5pPr marL="432000" indent="-144000" defTabSz="228600">
              <a:lnSpc>
                <a:spcPct val="100000"/>
              </a:lnSpc>
              <a:spcBef>
                <a:spcPts val="300"/>
              </a:spcBef>
              <a:spcAft>
                <a:spcPts val="300"/>
              </a:spcAft>
              <a:buFont typeface="Arial" panose="020B0604020202020204" pitchFamily="34" charset="0"/>
              <a:buChar char="•"/>
              <a:defRPr sz="1100"/>
            </a:lvl5pPr>
            <a:lvl6pPr marL="11113" indent="0" defTabSz="228600">
              <a:lnSpc>
                <a:spcPct val="90000"/>
              </a:lnSpc>
              <a:spcBef>
                <a:spcPts val="0"/>
              </a:spcBef>
              <a:spcAft>
                <a:spcPts val="1200"/>
              </a:spcAft>
              <a:buFont typeface="Graphik" panose="020B0503030202060203" pitchFamily="34" charset="0"/>
              <a:buNone/>
              <a:tabLst/>
              <a:defRPr sz="1600"/>
            </a:lvl6pPr>
            <a:lvl7pPr marL="0" indent="0" defTabSz="228600">
              <a:lnSpc>
                <a:spcPct val="90000"/>
              </a:lnSpc>
              <a:spcBef>
                <a:spcPts val="0"/>
              </a:spcBef>
              <a:spcAft>
                <a:spcPts val="1200"/>
              </a:spcAft>
              <a:buFont typeface="Arial" panose="020B0604020202020204" pitchFamily="34" charset="0"/>
              <a:buNone/>
              <a:defRPr sz="1200"/>
            </a:lvl7pPr>
            <a:lvl8pPr marL="0" indent="0" defTabSz="228600">
              <a:lnSpc>
                <a:spcPct val="90000"/>
              </a:lnSpc>
              <a:spcBef>
                <a:spcPts val="0"/>
              </a:spcBef>
              <a:spcAft>
                <a:spcPts val="1200"/>
              </a:spcAft>
              <a:buFont typeface="Arial" panose="020B0604020202020204" pitchFamily="34" charset="0"/>
              <a:buNone/>
              <a:defRPr sz="1000" b="1"/>
            </a:lvl8pPr>
            <a:lvl9pPr marL="0" indent="0" defTabSz="228600">
              <a:lnSpc>
                <a:spcPct val="90000"/>
              </a:lnSpc>
              <a:spcBef>
                <a:spcPts val="0"/>
              </a:spcBef>
              <a:spcAft>
                <a:spcPts val="1200"/>
              </a:spcAft>
              <a:buFont typeface="Arial" panose="020B0604020202020204" pitchFamily="34" charset="0"/>
              <a:buNone/>
              <a:defRPr sz="800">
                <a:solidFill>
                  <a:schemeClr val="tx2"/>
                </a:solidFill>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7500C0"/>
                </a:solidFill>
                <a:effectLst/>
                <a:uLnTx/>
                <a:uFillTx/>
                <a:latin typeface="Graphik"/>
                <a:ea typeface="+mn-ea"/>
                <a:cs typeface="+mn-cs"/>
              </a:rPr>
              <a:t>SME Panel</a:t>
            </a:r>
            <a:endParaRPr kumimoji="0" lang="en-ZA" sz="1200" b="1" i="0" u="none" strike="noStrike" kern="1200" cap="none" spc="0" normalizeH="0" baseline="0" noProof="0">
              <a:ln>
                <a:noFill/>
              </a:ln>
              <a:solidFill>
                <a:srgbClr val="7500C0"/>
              </a:solidFill>
              <a:effectLst/>
              <a:uLnTx/>
              <a:uFillTx/>
              <a:latin typeface="Graphik"/>
              <a:ea typeface="+mn-ea"/>
              <a:cs typeface="+mn-cs"/>
            </a:endParaRPr>
          </a:p>
        </p:txBody>
      </p:sp>
      <p:cxnSp>
        <p:nvCxnSpPr>
          <p:cNvPr id="490" name="Straight Connector 489">
            <a:extLst>
              <a:ext uri="{FF2B5EF4-FFF2-40B4-BE49-F238E27FC236}">
                <a16:creationId xmlns:a16="http://schemas.microsoft.com/office/drawing/2014/main" id="{9EE4DF0A-A9F1-45D6-B212-A15509D16E9D}"/>
              </a:ext>
            </a:extLst>
          </p:cNvPr>
          <p:cNvCxnSpPr/>
          <p:nvPr/>
        </p:nvCxnSpPr>
        <p:spPr>
          <a:xfrm>
            <a:off x="695324" y="2896944"/>
            <a:ext cx="51130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CFC56A-2BBC-476C-A5B4-DFE635FBDE6A}"/>
              </a:ext>
            </a:extLst>
          </p:cNvPr>
          <p:cNvCxnSpPr/>
          <p:nvPr/>
        </p:nvCxnSpPr>
        <p:spPr>
          <a:xfrm>
            <a:off x="6328829" y="2838668"/>
            <a:ext cx="51130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74309ECA-A32F-4E39-97A4-606C702D27F4}"/>
              </a:ext>
            </a:extLst>
          </p:cNvPr>
          <p:cNvSpPr txBox="1">
            <a:spLocks/>
          </p:cNvSpPr>
          <p:nvPr/>
        </p:nvSpPr>
        <p:spPr>
          <a:xfrm>
            <a:off x="3522963" y="1244392"/>
            <a:ext cx="2172987" cy="830997"/>
          </a:xfrm>
          <a:prstGeom prst="rect">
            <a:avLst/>
          </a:prstGeom>
        </p:spPr>
        <p:txBody>
          <a:bodyPr vert="horz" wrap="square" lIns="0" tIns="0" rIns="0" bIns="0" rtlCol="0">
            <a:spAutoFit/>
          </a:bodyPr>
          <a:lst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r>
              <a:rPr lang="en-US" dirty="0"/>
              <a:t>Andrew Long</a:t>
            </a:r>
          </a:p>
          <a:p>
            <a:pPr lvl="1"/>
            <a:r>
              <a:rPr lang="en-US" sz="1000" dirty="0"/>
              <a:t>Enterprise Architecture Strategy – Global Lead </a:t>
            </a:r>
            <a:endParaRPr lang="en-US" dirty="0"/>
          </a:p>
          <a:p>
            <a:endParaRPr lang="en-ZA" dirty="0"/>
          </a:p>
        </p:txBody>
      </p:sp>
      <p:sp>
        <p:nvSpPr>
          <p:cNvPr id="21" name="Text Placeholder 10">
            <a:extLst>
              <a:ext uri="{FF2B5EF4-FFF2-40B4-BE49-F238E27FC236}">
                <a16:creationId xmlns:a16="http://schemas.microsoft.com/office/drawing/2014/main" id="{E6EFF406-9A47-4E02-9378-F14D333BD86C}"/>
              </a:ext>
            </a:extLst>
          </p:cNvPr>
          <p:cNvSpPr txBox="1">
            <a:spLocks/>
          </p:cNvSpPr>
          <p:nvPr/>
        </p:nvSpPr>
        <p:spPr>
          <a:xfrm>
            <a:off x="3522963" y="991765"/>
            <a:ext cx="1702389" cy="184666"/>
          </a:xfrm>
          <a:prstGeom prst="rect">
            <a:avLst/>
          </a:prstGeom>
        </p:spPr>
        <p:txBody>
          <a:bodyPr vert="horz" wrap="none" lIns="0" tIns="0" rIns="0" bIns="0" rtlCol="0">
            <a:spAutoFit/>
          </a:bodyPr>
          <a:lstStyle>
            <a:defPPr>
              <a:defRPr lang="en-US"/>
            </a:defPPr>
            <a:lvl1pPr indent="0" defTabSz="228600">
              <a:lnSpc>
                <a:spcPct val="100000"/>
              </a:lnSpc>
              <a:spcBef>
                <a:spcPts val="300"/>
              </a:spcBef>
              <a:spcAft>
                <a:spcPts val="300"/>
              </a:spcAft>
              <a:buFont typeface="Arial" panose="020B0604020202020204" pitchFamily="34" charset="0"/>
              <a:buNone/>
              <a:defRPr sz="1200" b="1">
                <a:solidFill>
                  <a:schemeClr val="accent2"/>
                </a:solidFill>
              </a:defRPr>
            </a:lvl1pPr>
            <a:lvl2pPr marL="0" indent="0" defTabSz="228600">
              <a:lnSpc>
                <a:spcPct val="100000"/>
              </a:lnSpc>
              <a:spcBef>
                <a:spcPts val="300"/>
              </a:spcBef>
              <a:spcAft>
                <a:spcPts val="300"/>
              </a:spcAft>
              <a:buClrTx/>
              <a:buFont typeface="Arial" panose="020B0604020202020204" pitchFamily="34" charset="0"/>
              <a:buNone/>
              <a:defRPr sz="1100"/>
            </a:lvl2pPr>
            <a:lvl3pPr marL="144000" indent="-144000" defTabSz="228600">
              <a:lnSpc>
                <a:spcPct val="100000"/>
              </a:lnSpc>
              <a:spcBef>
                <a:spcPts val="300"/>
              </a:spcBef>
              <a:spcAft>
                <a:spcPts val="300"/>
              </a:spcAft>
              <a:buFont typeface="Arial" panose="020B0604020202020204" pitchFamily="34" charset="0"/>
              <a:buChar char="•"/>
              <a:defRPr sz="1100"/>
            </a:lvl3pPr>
            <a:lvl4pPr marL="288000" indent="-144000" defTabSz="228600">
              <a:lnSpc>
                <a:spcPct val="100000"/>
              </a:lnSpc>
              <a:spcBef>
                <a:spcPts val="300"/>
              </a:spcBef>
              <a:spcAft>
                <a:spcPts val="300"/>
              </a:spcAft>
              <a:buFont typeface="Graphik" panose="020B0503030202060203" pitchFamily="34" charset="0"/>
              <a:buChar char="–"/>
              <a:defRPr sz="1100"/>
            </a:lvl4pPr>
            <a:lvl5pPr marL="432000" indent="-144000" defTabSz="228600">
              <a:lnSpc>
                <a:spcPct val="100000"/>
              </a:lnSpc>
              <a:spcBef>
                <a:spcPts val="300"/>
              </a:spcBef>
              <a:spcAft>
                <a:spcPts val="300"/>
              </a:spcAft>
              <a:buFont typeface="Arial" panose="020B0604020202020204" pitchFamily="34" charset="0"/>
              <a:buChar char="•"/>
              <a:defRPr sz="1100"/>
            </a:lvl5pPr>
            <a:lvl6pPr marL="11113" indent="0" defTabSz="228600">
              <a:lnSpc>
                <a:spcPct val="90000"/>
              </a:lnSpc>
              <a:spcBef>
                <a:spcPts val="0"/>
              </a:spcBef>
              <a:spcAft>
                <a:spcPts val="1200"/>
              </a:spcAft>
              <a:buFont typeface="Graphik" panose="020B0503030202060203" pitchFamily="34" charset="0"/>
              <a:buNone/>
              <a:tabLst/>
              <a:defRPr sz="1600"/>
            </a:lvl6pPr>
            <a:lvl7pPr marL="0" indent="0" defTabSz="228600">
              <a:lnSpc>
                <a:spcPct val="90000"/>
              </a:lnSpc>
              <a:spcBef>
                <a:spcPts val="0"/>
              </a:spcBef>
              <a:spcAft>
                <a:spcPts val="1200"/>
              </a:spcAft>
              <a:buFont typeface="Arial" panose="020B0604020202020204" pitchFamily="34" charset="0"/>
              <a:buNone/>
              <a:defRPr sz="1200"/>
            </a:lvl7pPr>
            <a:lvl8pPr marL="0" indent="0" defTabSz="228600">
              <a:lnSpc>
                <a:spcPct val="90000"/>
              </a:lnSpc>
              <a:spcBef>
                <a:spcPts val="0"/>
              </a:spcBef>
              <a:spcAft>
                <a:spcPts val="1200"/>
              </a:spcAft>
              <a:buFont typeface="Arial" panose="020B0604020202020204" pitchFamily="34" charset="0"/>
              <a:buNone/>
              <a:defRPr sz="1000" b="1"/>
            </a:lvl8pPr>
            <a:lvl9pPr marL="0" indent="0" defTabSz="228600">
              <a:lnSpc>
                <a:spcPct val="90000"/>
              </a:lnSpc>
              <a:spcBef>
                <a:spcPts val="0"/>
              </a:spcBef>
              <a:spcAft>
                <a:spcPts val="1200"/>
              </a:spcAft>
              <a:buFont typeface="Arial" panose="020B0604020202020204" pitchFamily="34" charset="0"/>
              <a:buNone/>
              <a:defRPr sz="800">
                <a:solidFill>
                  <a:schemeClr val="tx2"/>
                </a:solidFill>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7500C0"/>
                </a:solidFill>
                <a:effectLst/>
                <a:uLnTx/>
                <a:uFillTx/>
                <a:latin typeface="Graphik"/>
                <a:ea typeface="+mn-ea"/>
                <a:cs typeface="+mn-cs"/>
              </a:rPr>
              <a:t>ETB Program Advisors</a:t>
            </a:r>
            <a:endParaRPr kumimoji="0" lang="en-ZA" sz="1200" b="1" i="0" u="none" strike="noStrike" kern="1200" cap="none" spc="0" normalizeH="0" baseline="0" noProof="0">
              <a:ln>
                <a:noFill/>
              </a:ln>
              <a:solidFill>
                <a:srgbClr val="7500C0"/>
              </a:solidFill>
              <a:effectLst/>
              <a:uLnTx/>
              <a:uFillTx/>
              <a:latin typeface="Graphik"/>
              <a:ea typeface="+mn-ea"/>
              <a:cs typeface="+mn-cs"/>
            </a:endParaRPr>
          </a:p>
        </p:txBody>
      </p:sp>
      <p:sp>
        <p:nvSpPr>
          <p:cNvPr id="22" name="Text Placeholder 10">
            <a:extLst>
              <a:ext uri="{FF2B5EF4-FFF2-40B4-BE49-F238E27FC236}">
                <a16:creationId xmlns:a16="http://schemas.microsoft.com/office/drawing/2014/main" id="{EDAD4A88-B109-4AF6-B1A0-B32702440170}"/>
              </a:ext>
            </a:extLst>
          </p:cNvPr>
          <p:cNvSpPr txBox="1">
            <a:spLocks/>
          </p:cNvSpPr>
          <p:nvPr/>
        </p:nvSpPr>
        <p:spPr>
          <a:xfrm>
            <a:off x="3522963" y="2613998"/>
            <a:ext cx="1447512" cy="184666"/>
          </a:xfrm>
          <a:prstGeom prst="rect">
            <a:avLst/>
          </a:prstGeom>
        </p:spPr>
        <p:txBody>
          <a:bodyPr vert="horz" wrap="none" lIns="0" tIns="0" rIns="0" bIns="0" rtlCol="0">
            <a:spAutoFit/>
          </a:bodyPr>
          <a:lstStyle>
            <a:defPPr>
              <a:defRPr lang="en-US"/>
            </a:defPPr>
            <a:lvl1pPr indent="0" defTabSz="228600">
              <a:lnSpc>
                <a:spcPct val="100000"/>
              </a:lnSpc>
              <a:spcBef>
                <a:spcPts val="300"/>
              </a:spcBef>
              <a:spcAft>
                <a:spcPts val="300"/>
              </a:spcAft>
              <a:buFont typeface="Arial" panose="020B0604020202020204" pitchFamily="34" charset="0"/>
              <a:buNone/>
              <a:defRPr sz="1200" b="1">
                <a:solidFill>
                  <a:schemeClr val="accent2"/>
                </a:solidFill>
              </a:defRPr>
            </a:lvl1pPr>
            <a:lvl2pPr marL="0" indent="0" defTabSz="228600">
              <a:lnSpc>
                <a:spcPct val="100000"/>
              </a:lnSpc>
              <a:spcBef>
                <a:spcPts val="300"/>
              </a:spcBef>
              <a:spcAft>
                <a:spcPts val="300"/>
              </a:spcAft>
              <a:buClrTx/>
              <a:buFont typeface="Arial" panose="020B0604020202020204" pitchFamily="34" charset="0"/>
              <a:buNone/>
              <a:defRPr sz="1100"/>
            </a:lvl2pPr>
            <a:lvl3pPr marL="144000" indent="-144000" defTabSz="228600">
              <a:lnSpc>
                <a:spcPct val="100000"/>
              </a:lnSpc>
              <a:spcBef>
                <a:spcPts val="300"/>
              </a:spcBef>
              <a:spcAft>
                <a:spcPts val="300"/>
              </a:spcAft>
              <a:buFont typeface="Arial" panose="020B0604020202020204" pitchFamily="34" charset="0"/>
              <a:buChar char="•"/>
              <a:defRPr sz="1100"/>
            </a:lvl3pPr>
            <a:lvl4pPr marL="288000" indent="-144000" defTabSz="228600">
              <a:lnSpc>
                <a:spcPct val="100000"/>
              </a:lnSpc>
              <a:spcBef>
                <a:spcPts val="300"/>
              </a:spcBef>
              <a:spcAft>
                <a:spcPts val="300"/>
              </a:spcAft>
              <a:buFont typeface="Graphik" panose="020B0503030202060203" pitchFamily="34" charset="0"/>
              <a:buChar char="–"/>
              <a:defRPr sz="1100"/>
            </a:lvl4pPr>
            <a:lvl5pPr marL="432000" indent="-144000" defTabSz="228600">
              <a:lnSpc>
                <a:spcPct val="100000"/>
              </a:lnSpc>
              <a:spcBef>
                <a:spcPts val="300"/>
              </a:spcBef>
              <a:spcAft>
                <a:spcPts val="300"/>
              </a:spcAft>
              <a:buFont typeface="Arial" panose="020B0604020202020204" pitchFamily="34" charset="0"/>
              <a:buChar char="•"/>
              <a:defRPr sz="1100"/>
            </a:lvl5pPr>
            <a:lvl6pPr marL="11113" indent="0" defTabSz="228600">
              <a:lnSpc>
                <a:spcPct val="90000"/>
              </a:lnSpc>
              <a:spcBef>
                <a:spcPts val="0"/>
              </a:spcBef>
              <a:spcAft>
                <a:spcPts val="1200"/>
              </a:spcAft>
              <a:buFont typeface="Graphik" panose="020B0503030202060203" pitchFamily="34" charset="0"/>
              <a:buNone/>
              <a:tabLst/>
              <a:defRPr sz="1600"/>
            </a:lvl6pPr>
            <a:lvl7pPr marL="0" indent="0" defTabSz="228600">
              <a:lnSpc>
                <a:spcPct val="90000"/>
              </a:lnSpc>
              <a:spcBef>
                <a:spcPts val="0"/>
              </a:spcBef>
              <a:spcAft>
                <a:spcPts val="1200"/>
              </a:spcAft>
              <a:buFont typeface="Arial" panose="020B0604020202020204" pitchFamily="34" charset="0"/>
              <a:buNone/>
              <a:defRPr sz="1200"/>
            </a:lvl7pPr>
            <a:lvl8pPr marL="0" indent="0" defTabSz="228600">
              <a:lnSpc>
                <a:spcPct val="90000"/>
              </a:lnSpc>
              <a:spcBef>
                <a:spcPts val="0"/>
              </a:spcBef>
              <a:spcAft>
                <a:spcPts val="1200"/>
              </a:spcAft>
              <a:buFont typeface="Arial" panose="020B0604020202020204" pitchFamily="34" charset="0"/>
              <a:buNone/>
              <a:defRPr sz="1000" b="1"/>
            </a:lvl8pPr>
            <a:lvl9pPr marL="0" indent="0" defTabSz="228600">
              <a:lnSpc>
                <a:spcPct val="90000"/>
              </a:lnSpc>
              <a:spcBef>
                <a:spcPts val="0"/>
              </a:spcBef>
              <a:spcAft>
                <a:spcPts val="1200"/>
              </a:spcAft>
              <a:buFont typeface="Arial" panose="020B0604020202020204" pitchFamily="34" charset="0"/>
              <a:buNone/>
              <a:defRPr sz="800">
                <a:solidFill>
                  <a:schemeClr val="tx2"/>
                </a:solidFill>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7500C0"/>
                </a:solidFill>
                <a:effectLst/>
                <a:uLnTx/>
                <a:uFillTx/>
                <a:latin typeface="Graphik"/>
                <a:ea typeface="+mn-ea"/>
                <a:cs typeface="+mn-cs"/>
              </a:rPr>
              <a:t>ETB Program Team</a:t>
            </a:r>
            <a:endParaRPr kumimoji="0" lang="en-ZA" sz="1200" b="1" i="0" u="none" strike="noStrike" kern="1200" cap="none" spc="0" normalizeH="0" baseline="0" noProof="0">
              <a:ln>
                <a:noFill/>
              </a:ln>
              <a:solidFill>
                <a:srgbClr val="7500C0"/>
              </a:solidFill>
              <a:effectLst/>
              <a:uLnTx/>
              <a:uFillTx/>
              <a:latin typeface="Graphik"/>
              <a:ea typeface="+mn-ea"/>
              <a:cs typeface="+mn-cs"/>
            </a:endParaRPr>
          </a:p>
        </p:txBody>
      </p:sp>
      <p:sp>
        <p:nvSpPr>
          <p:cNvPr id="23" name="Text Placeholder 10">
            <a:extLst>
              <a:ext uri="{FF2B5EF4-FFF2-40B4-BE49-F238E27FC236}">
                <a16:creationId xmlns:a16="http://schemas.microsoft.com/office/drawing/2014/main" id="{5963C099-DC52-4361-9A8D-63C71AD2D4F2}"/>
              </a:ext>
            </a:extLst>
          </p:cNvPr>
          <p:cNvSpPr txBox="1">
            <a:spLocks/>
          </p:cNvSpPr>
          <p:nvPr/>
        </p:nvSpPr>
        <p:spPr>
          <a:xfrm>
            <a:off x="3522963" y="2843618"/>
            <a:ext cx="2632761" cy="1169551"/>
          </a:xfrm>
          <a:prstGeom prst="rect">
            <a:avLst/>
          </a:prstGeom>
        </p:spPr>
        <p:txBody>
          <a:bodyPr vert="horz" wrap="square" lIns="0" tIns="0" rIns="0" bIns="0" rtlCol="0">
            <a:spAutoFit/>
          </a:bodyPr>
          <a:lst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Giuliano Benincasa</a:t>
            </a:r>
          </a:p>
          <a:p>
            <a:pPr marL="0" marR="0" lvl="1"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terprise Technology Blueprints Lead</a:t>
            </a:r>
          </a:p>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Graphik"/>
                <a:ea typeface="+mn-ea"/>
                <a:cs typeface="+mn-cs"/>
              </a:rPr>
              <a:t>Devyani Anil Atkar</a:t>
            </a:r>
          </a:p>
          <a:p>
            <a:pPr marL="0" marR="0" lvl="1"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TB Program Manager</a:t>
            </a:r>
          </a:p>
          <a:p>
            <a:pPr marL="0" marR="0" lvl="0"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ZA" sz="1200" b="1" i="0" u="none" strike="noStrike" kern="1200" cap="none" spc="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401107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54280"/>
            <a:ext cx="11115675" cy="215444"/>
          </a:xfrm>
        </p:spPr>
        <p:txBody>
          <a:bodyPr/>
          <a:lstStyle/>
          <a:p>
            <a:r>
              <a:rPr lang="en-US" b="1">
                <a:solidFill>
                  <a:schemeClr val="accent1"/>
                </a:solidFill>
              </a:rPr>
              <a:t>4. Cloud Data (4/4)</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5" y="1376364"/>
            <a:ext cx="3857625" cy="259815"/>
          </a:xfrm>
        </p:spPr>
        <p:txBody>
          <a:bodyPr>
            <a:normAutofit/>
          </a:bodyPr>
          <a:lstStyle/>
          <a:p>
            <a:r>
              <a:rPr lang="en-US"/>
              <a:t>4.4 Artificial Intelligence &amp; Machine Learning</a:t>
            </a:r>
            <a:endParaRPr lang="en-ZA"/>
          </a:p>
        </p:txBody>
      </p:sp>
      <p:sp>
        <p:nvSpPr>
          <p:cNvPr id="14" name="Rectangle 13">
            <a:extLst>
              <a:ext uri="{FF2B5EF4-FFF2-40B4-BE49-F238E27FC236}">
                <a16:creationId xmlns:a16="http://schemas.microsoft.com/office/drawing/2014/main" id="{CEC00EFF-ABEF-4126-A2FC-15FEEF420A47}"/>
              </a:ext>
            </a:extLst>
          </p:cNvPr>
          <p:cNvSpPr/>
          <p:nvPr/>
        </p:nvSpPr>
        <p:spPr>
          <a:xfrm>
            <a:off x="695325" y="1834105"/>
            <a:ext cx="8782050"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5" name="Rectangle 14">
            <a:extLst>
              <a:ext uri="{FF2B5EF4-FFF2-40B4-BE49-F238E27FC236}">
                <a16:creationId xmlns:a16="http://schemas.microsoft.com/office/drawing/2014/main" id="{F52395F5-8E77-478C-BF74-716C54901B76}"/>
              </a:ext>
            </a:extLst>
          </p:cNvPr>
          <p:cNvSpPr/>
          <p:nvPr/>
        </p:nvSpPr>
        <p:spPr>
          <a:xfrm>
            <a:off x="7235019"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7 Machine Learning</a:t>
            </a:r>
          </a:p>
          <a:p>
            <a:pPr algn="ctr"/>
            <a:r>
              <a:rPr lang="en-US" sz="1000">
                <a:solidFill>
                  <a:schemeClr val="bg1"/>
                </a:solidFill>
                <a:latin typeface="Graphik" panose="020B0503030202060203" pitchFamily="34" charset="0"/>
              </a:rPr>
              <a:t>Training</a:t>
            </a:r>
          </a:p>
        </p:txBody>
      </p:sp>
      <p:sp>
        <p:nvSpPr>
          <p:cNvPr id="16" name="Rectangle 15">
            <a:extLst>
              <a:ext uri="{FF2B5EF4-FFF2-40B4-BE49-F238E27FC236}">
                <a16:creationId xmlns:a16="http://schemas.microsoft.com/office/drawing/2014/main" id="{74E6A126-C7E8-4BDA-8DC1-0CA75BAB5CC7}"/>
              </a:ext>
            </a:extLst>
          </p:cNvPr>
          <p:cNvSpPr/>
          <p:nvPr/>
        </p:nvSpPr>
        <p:spPr>
          <a:xfrm>
            <a:off x="1980679"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2 Language Recognition</a:t>
            </a:r>
          </a:p>
        </p:txBody>
      </p:sp>
      <p:sp>
        <p:nvSpPr>
          <p:cNvPr id="17" name="Rectangle 16">
            <a:extLst>
              <a:ext uri="{FF2B5EF4-FFF2-40B4-BE49-F238E27FC236}">
                <a16:creationId xmlns:a16="http://schemas.microsoft.com/office/drawing/2014/main" id="{63805A79-7FD3-421F-9539-C947202A79C9}"/>
              </a:ext>
            </a:extLst>
          </p:cNvPr>
          <p:cNvSpPr/>
          <p:nvPr/>
        </p:nvSpPr>
        <p:spPr>
          <a:xfrm>
            <a:off x="3031547"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3 Text-to-Speech</a:t>
            </a:r>
          </a:p>
        </p:txBody>
      </p:sp>
      <p:sp>
        <p:nvSpPr>
          <p:cNvPr id="18" name="Rectangle 17">
            <a:extLst>
              <a:ext uri="{FF2B5EF4-FFF2-40B4-BE49-F238E27FC236}">
                <a16:creationId xmlns:a16="http://schemas.microsoft.com/office/drawing/2014/main" id="{612E95BA-E704-43EF-B5F3-705BD273C153}"/>
              </a:ext>
            </a:extLst>
          </p:cNvPr>
          <p:cNvSpPr/>
          <p:nvPr/>
        </p:nvSpPr>
        <p:spPr>
          <a:xfrm>
            <a:off x="5133283"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5 Machine Learning</a:t>
            </a:r>
          </a:p>
        </p:txBody>
      </p:sp>
      <p:sp>
        <p:nvSpPr>
          <p:cNvPr id="19" name="Rectangle 18">
            <a:extLst>
              <a:ext uri="{FF2B5EF4-FFF2-40B4-BE49-F238E27FC236}">
                <a16:creationId xmlns:a16="http://schemas.microsoft.com/office/drawing/2014/main" id="{38FFD226-FE6F-4765-BBC5-EFA231A3AC8C}"/>
              </a:ext>
            </a:extLst>
          </p:cNvPr>
          <p:cNvSpPr/>
          <p:nvPr/>
        </p:nvSpPr>
        <p:spPr>
          <a:xfrm>
            <a:off x="8285887"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8 Speech Recognition</a:t>
            </a:r>
          </a:p>
        </p:txBody>
      </p:sp>
      <p:sp>
        <p:nvSpPr>
          <p:cNvPr id="20" name="Rectangle 19">
            <a:extLst>
              <a:ext uri="{FF2B5EF4-FFF2-40B4-BE49-F238E27FC236}">
                <a16:creationId xmlns:a16="http://schemas.microsoft.com/office/drawing/2014/main" id="{875D4B8D-25F6-4212-9FA7-9EB826E91C76}"/>
              </a:ext>
            </a:extLst>
          </p:cNvPr>
          <p:cNvSpPr/>
          <p:nvPr/>
        </p:nvSpPr>
        <p:spPr>
          <a:xfrm>
            <a:off x="929811"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1 Vision Recognition</a:t>
            </a:r>
          </a:p>
        </p:txBody>
      </p:sp>
      <p:sp>
        <p:nvSpPr>
          <p:cNvPr id="21" name="Rectangle 20">
            <a:extLst>
              <a:ext uri="{FF2B5EF4-FFF2-40B4-BE49-F238E27FC236}">
                <a16:creationId xmlns:a16="http://schemas.microsoft.com/office/drawing/2014/main" id="{A9AAEB2E-D3E7-4F7D-A4F7-746DCB403A4B}"/>
              </a:ext>
            </a:extLst>
          </p:cNvPr>
          <p:cNvSpPr/>
          <p:nvPr/>
        </p:nvSpPr>
        <p:spPr>
          <a:xfrm>
            <a:off x="4082415" y="1976139"/>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4 Translation</a:t>
            </a:r>
          </a:p>
        </p:txBody>
      </p:sp>
      <p:sp>
        <p:nvSpPr>
          <p:cNvPr id="22" name="Rectangle 21">
            <a:extLst>
              <a:ext uri="{FF2B5EF4-FFF2-40B4-BE49-F238E27FC236}">
                <a16:creationId xmlns:a16="http://schemas.microsoft.com/office/drawing/2014/main" id="{F0124069-E6FC-48CD-9056-34FDA817F631}"/>
              </a:ext>
            </a:extLst>
          </p:cNvPr>
          <p:cNvSpPr/>
          <p:nvPr/>
        </p:nvSpPr>
        <p:spPr>
          <a:xfrm>
            <a:off x="6184151" y="1971522"/>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4.4.6 Intelligent Bots</a:t>
            </a:r>
          </a:p>
        </p:txBody>
      </p:sp>
      <p:graphicFrame>
        <p:nvGraphicFramePr>
          <p:cNvPr id="23" name="Table 22">
            <a:extLst>
              <a:ext uri="{FF2B5EF4-FFF2-40B4-BE49-F238E27FC236}">
                <a16:creationId xmlns:a16="http://schemas.microsoft.com/office/drawing/2014/main" id="{B74133A7-F3E1-4784-9567-04A09AB646D7}"/>
              </a:ext>
            </a:extLst>
          </p:cNvPr>
          <p:cNvGraphicFramePr>
            <a:graphicFrameLocks noGrp="1"/>
          </p:cNvGraphicFramePr>
          <p:nvPr>
            <p:extLst>
              <p:ext uri="{D42A27DB-BD31-4B8C-83A1-F6EECF244321}">
                <p14:modId xmlns:p14="http://schemas.microsoft.com/office/powerpoint/2010/main" val="3348100726"/>
              </p:ext>
            </p:extLst>
          </p:nvPr>
        </p:nvGraphicFramePr>
        <p:xfrm>
          <a:off x="695325" y="2952642"/>
          <a:ext cx="10729912" cy="20196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701150">
                  <a:extLst>
                    <a:ext uri="{9D8B030D-6E8A-4147-A177-3AD203B41FA5}">
                      <a16:colId xmlns:a16="http://schemas.microsoft.com/office/drawing/2014/main" val="20001"/>
                    </a:ext>
                  </a:extLst>
                </a:gridCol>
                <a:gridCol w="6443662">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8">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latin typeface="+mn-lt"/>
                        </a:rPr>
                        <a:t>4.4 </a:t>
                      </a:r>
                      <a:r>
                        <a:rPr lang="en-US" sz="1000">
                          <a:latin typeface="+mn-lt"/>
                        </a:rPr>
                        <a:t>Artificial Intelligence &amp; Machine Learning</a:t>
                      </a:r>
                      <a:endParaRPr lang="en-US" sz="1000" b="1">
                        <a:latin typeface="+mn-lt"/>
                      </a:endParaRPr>
                    </a:p>
                  </a:txBody>
                  <a:tcPr marL="72000" marR="72000" marT="36000" marB="36000"/>
                </a:tc>
                <a:tc>
                  <a:txBody>
                    <a:bodyPr/>
                    <a:lstStyle/>
                    <a:p>
                      <a:pPr algn="l" fontAlgn="b"/>
                      <a:r>
                        <a:rPr lang="en-US" sz="1000" u="none" strike="noStrike">
                          <a:effectLst/>
                          <a:latin typeface="+mn-lt"/>
                        </a:rPr>
                        <a:t>4.4.1 Vision Recogni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Image detection for objects, scenes, faces, etc.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4.2 Language Recogni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rvices to enable language recognition/translation</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4.3 Text To Speech</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rvices for text to speech applica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4.4 Transla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rvices for translations across languag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4.4.5 Machine Learning</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Build, deploy, and share predictive analytics solu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0">
                <a:tc vMerge="1">
                  <a:txBody>
                    <a:bodyPr/>
                    <a:lstStyle/>
                    <a:p>
                      <a:endParaRPr lang="en-US"/>
                    </a:p>
                  </a:txBody>
                  <a:tcPr/>
                </a:tc>
                <a:tc>
                  <a:txBody>
                    <a:bodyPr/>
                    <a:lstStyle/>
                    <a:p>
                      <a:pPr algn="l" fontAlgn="b"/>
                      <a:r>
                        <a:rPr lang="en-US" sz="1000" b="0" u="none" strike="noStrike">
                          <a:solidFill>
                            <a:srgbClr val="000000"/>
                          </a:solidFill>
                          <a:effectLst/>
                          <a:latin typeface="+mn-lt"/>
                        </a:rPr>
                        <a:t>4.4.6 Intelligent Bots</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On-demand bot services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3211566606"/>
                  </a:ext>
                </a:extLst>
              </a:tr>
              <a:tr h="0">
                <a:tc vMerge="1">
                  <a:txBody>
                    <a:bodyPr/>
                    <a:lstStyle/>
                    <a:p>
                      <a:endParaRPr lang="en-US"/>
                    </a:p>
                  </a:txBody>
                  <a:tcPr/>
                </a:tc>
                <a:tc>
                  <a:txBody>
                    <a:bodyPr/>
                    <a:lstStyle/>
                    <a:p>
                      <a:pPr algn="l" fontAlgn="b"/>
                      <a:r>
                        <a:rPr lang="en-US" sz="1000" b="0" u="none" strike="noStrike">
                          <a:solidFill>
                            <a:srgbClr val="000000"/>
                          </a:solidFill>
                          <a:effectLst/>
                          <a:latin typeface="+mn-lt"/>
                        </a:rPr>
                        <a:t>4.4.7 Machine Learning Training</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Train machine learning models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4276620131"/>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a:txBody>
                    <a:bodyPr/>
                    <a:lstStyle/>
                    <a:p>
                      <a:pPr algn="l" fontAlgn="b"/>
                      <a:r>
                        <a:rPr lang="en-US" sz="1000" u="none" strike="noStrike">
                          <a:effectLst/>
                          <a:latin typeface="+mn-lt"/>
                        </a:rPr>
                        <a:t>4.4.8 Speech Recognition</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Machine learning services for speech</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20301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48723"/>
            <a:ext cx="11115675" cy="215444"/>
          </a:xfrm>
        </p:spPr>
        <p:txBody>
          <a:bodyPr/>
          <a:lstStyle/>
          <a:p>
            <a:r>
              <a:rPr lang="en-US" b="1">
                <a:solidFill>
                  <a:schemeClr val="accent1"/>
                </a:solidFill>
              </a:rPr>
              <a:t>5. Cloud Applications (1/3)</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5" y="1376363"/>
            <a:ext cx="5502275" cy="1387475"/>
          </a:xfrm>
        </p:spPr>
        <p:txBody>
          <a:bodyPr>
            <a:normAutofit/>
          </a:bodyPr>
          <a:lstStyle/>
          <a:p>
            <a:r>
              <a:rPr lang="en-US"/>
              <a:t>5.1 Application Services</a:t>
            </a:r>
          </a:p>
          <a:p>
            <a:endParaRPr lang="en-ZA"/>
          </a:p>
        </p:txBody>
      </p:sp>
      <p:sp>
        <p:nvSpPr>
          <p:cNvPr id="13" name="Rectangle 12">
            <a:extLst>
              <a:ext uri="{FF2B5EF4-FFF2-40B4-BE49-F238E27FC236}">
                <a16:creationId xmlns:a16="http://schemas.microsoft.com/office/drawing/2014/main" id="{D77DC8D4-9E3B-4E17-82AD-FD6C83141CDD}"/>
              </a:ext>
            </a:extLst>
          </p:cNvPr>
          <p:cNvSpPr/>
          <p:nvPr/>
        </p:nvSpPr>
        <p:spPr>
          <a:xfrm>
            <a:off x="695325" y="1822639"/>
            <a:ext cx="5400675" cy="903047"/>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7" name="Rectangle 16">
            <a:extLst>
              <a:ext uri="{FF2B5EF4-FFF2-40B4-BE49-F238E27FC236}">
                <a16:creationId xmlns:a16="http://schemas.microsoft.com/office/drawing/2014/main" id="{457DA30F-E44C-4794-BBCC-DB1C3C05385C}"/>
              </a:ext>
            </a:extLst>
          </p:cNvPr>
          <p:cNvSpPr/>
          <p:nvPr/>
        </p:nvSpPr>
        <p:spPr>
          <a:xfrm>
            <a:off x="4970685" y="1973410"/>
            <a:ext cx="92900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1.5 </a:t>
            </a:r>
          </a:p>
          <a:p>
            <a:pPr algn="ctr">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Managed Search</a:t>
            </a:r>
          </a:p>
        </p:txBody>
      </p:sp>
      <p:sp>
        <p:nvSpPr>
          <p:cNvPr id="19" name="Rectangle 18">
            <a:extLst>
              <a:ext uri="{FF2B5EF4-FFF2-40B4-BE49-F238E27FC236}">
                <a16:creationId xmlns:a16="http://schemas.microsoft.com/office/drawing/2014/main" id="{B83DA935-4FC8-41C1-92AE-C313A09EF61D}"/>
              </a:ext>
            </a:extLst>
          </p:cNvPr>
          <p:cNvSpPr/>
          <p:nvPr/>
        </p:nvSpPr>
        <p:spPr>
          <a:xfrm>
            <a:off x="907930" y="1973410"/>
            <a:ext cx="959559"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1.1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Ap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Hosting PaaS</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4" name="Rectangle 23">
            <a:extLst>
              <a:ext uri="{FF2B5EF4-FFF2-40B4-BE49-F238E27FC236}">
                <a16:creationId xmlns:a16="http://schemas.microsoft.com/office/drawing/2014/main" id="{64ABC8C5-9B44-4552-89D8-2F34B680A9B0}"/>
              </a:ext>
            </a:extLst>
          </p:cNvPr>
          <p:cNvSpPr/>
          <p:nvPr/>
        </p:nvSpPr>
        <p:spPr>
          <a:xfrm>
            <a:off x="1951503" y="1973410"/>
            <a:ext cx="92900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1.2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Messaging Servic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5" name="Rectangle 24">
            <a:extLst>
              <a:ext uri="{FF2B5EF4-FFF2-40B4-BE49-F238E27FC236}">
                <a16:creationId xmlns:a16="http://schemas.microsoft.com/office/drawing/2014/main" id="{555A3D24-3F89-4F36-BB5C-740CDBCDB55F}"/>
              </a:ext>
            </a:extLst>
          </p:cNvPr>
          <p:cNvSpPr/>
          <p:nvPr/>
        </p:nvSpPr>
        <p:spPr>
          <a:xfrm>
            <a:off x="2964517" y="1973410"/>
            <a:ext cx="92900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1.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Workflow Servic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6" name="Rectangle 25">
            <a:extLst>
              <a:ext uri="{FF2B5EF4-FFF2-40B4-BE49-F238E27FC236}">
                <a16:creationId xmlns:a16="http://schemas.microsoft.com/office/drawing/2014/main" id="{EA6F4140-BC72-44D1-8BC6-54A3D8FC06C1}"/>
              </a:ext>
            </a:extLst>
          </p:cNvPr>
          <p:cNvSpPr/>
          <p:nvPr/>
        </p:nvSpPr>
        <p:spPr>
          <a:xfrm>
            <a:off x="3977531" y="1973410"/>
            <a:ext cx="90914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bg1"/>
                </a:solidFill>
                <a:latin typeface="Graphik" panose="020B0503030202060203" pitchFamily="34" charset="0"/>
              </a:rPr>
              <a:t>5.1</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4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Notification Services</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graphicFrame>
        <p:nvGraphicFramePr>
          <p:cNvPr id="12" name="Table 11">
            <a:extLst>
              <a:ext uri="{FF2B5EF4-FFF2-40B4-BE49-F238E27FC236}">
                <a16:creationId xmlns:a16="http://schemas.microsoft.com/office/drawing/2014/main" id="{18069194-4058-49E6-BA4C-7954C0646E61}"/>
              </a:ext>
            </a:extLst>
          </p:cNvPr>
          <p:cNvGraphicFramePr>
            <a:graphicFrameLocks noGrp="1"/>
          </p:cNvGraphicFramePr>
          <p:nvPr>
            <p:extLst>
              <p:ext uri="{D42A27DB-BD31-4B8C-83A1-F6EECF244321}">
                <p14:modId xmlns:p14="http://schemas.microsoft.com/office/powerpoint/2010/main" val="76282492"/>
              </p:ext>
            </p:extLst>
          </p:nvPr>
        </p:nvGraphicFramePr>
        <p:xfrm>
          <a:off x="695325" y="3023762"/>
          <a:ext cx="10729912" cy="14988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003708">
                  <a:extLst>
                    <a:ext uri="{9D8B030D-6E8A-4147-A177-3AD203B41FA5}">
                      <a16:colId xmlns:a16="http://schemas.microsoft.com/office/drawing/2014/main" val="20001"/>
                    </a:ext>
                  </a:extLst>
                </a:gridCol>
                <a:gridCol w="7141104">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rowSpan="5">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b="1" kern="1200">
                          <a:solidFill>
                            <a:schemeClr val="tx1"/>
                          </a:solidFill>
                          <a:latin typeface="+mn-lt"/>
                        </a:rPr>
                        <a:t>5.1 Application Services</a:t>
                      </a:r>
                      <a:endParaRPr lang="en-US" sz="1000" b="1">
                        <a:latin typeface="+mn-lt"/>
                      </a:endParaRPr>
                    </a:p>
                  </a:txBody>
                  <a:tcPr marL="72000" marR="72000" marT="36000" marB="36000"/>
                </a:tc>
                <a:tc>
                  <a:txBody>
                    <a:bodyPr/>
                    <a:lstStyle/>
                    <a:p>
                      <a:pPr algn="l" fontAlgn="b"/>
                      <a:r>
                        <a:rPr lang="en-US" sz="1000" u="none" strike="noStrike">
                          <a:effectLst/>
                          <a:latin typeface="+mn-lt"/>
                        </a:rPr>
                        <a:t>5.1.1 Application Hosting PaaS</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Development tools to easily deploy and scale web applications without overhead of managing underlying infrastructur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5.1.2 Messaging Service</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Queuing services to enable application decoupling</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5.1.3 Workflow Service</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Job and task coordination</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5.1.4 Notification Services</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latin typeface="+mn-lt"/>
                        </a:rPr>
                        <a:t>Notifications services for coordinating the delivery of messages</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u="none" strike="noStrike">
                          <a:effectLst/>
                          <a:latin typeface="+mn-lt"/>
                        </a:rPr>
                        <a:t>5.1.5 Managed Search</a:t>
                      </a:r>
                      <a:endParaRPr lang="en-US" sz="1000" b="0" i="0" u="none" strike="noStrike">
                        <a:solidFill>
                          <a:srgbClr val="000000"/>
                        </a:solidFill>
                        <a:effectLst/>
                        <a:latin typeface="+mn-lt"/>
                      </a:endParaRPr>
                    </a:p>
                  </a:txBody>
                  <a:tcPr marL="72000" marR="72000" marT="36000" marB="36000"/>
                </a:tc>
                <a:tc>
                  <a:txBody>
                    <a:bodyPr/>
                    <a:lstStyle/>
                    <a:p>
                      <a:pPr algn="l" fontAlgn="b"/>
                      <a:r>
                        <a:rPr lang="en-US" sz="1000" b="0" u="none" strike="noStrike">
                          <a:solidFill>
                            <a:srgbClr val="000000"/>
                          </a:solidFill>
                          <a:effectLst/>
                          <a:latin typeface="+mn-lt"/>
                        </a:rPr>
                        <a:t>Search solutions for websites and applica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00431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82352" y="724194"/>
            <a:ext cx="11115675" cy="215444"/>
          </a:xfrm>
        </p:spPr>
        <p:txBody>
          <a:bodyPr/>
          <a:lstStyle/>
          <a:p>
            <a:r>
              <a:rPr lang="en-US" b="1">
                <a:solidFill>
                  <a:schemeClr val="accent1"/>
                </a:solidFill>
              </a:rPr>
              <a:t>5. Cloud Applications (2/3)</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82352" y="937260"/>
            <a:ext cx="2124075" cy="232602"/>
          </a:xfrm>
        </p:spPr>
        <p:txBody>
          <a:bodyPr>
            <a:normAutofit/>
          </a:bodyPr>
          <a:lstStyle/>
          <a:p>
            <a:r>
              <a:rPr lang="en-US"/>
              <a:t>5.2 Development Services</a:t>
            </a:r>
          </a:p>
          <a:p>
            <a:endParaRPr lang="en-ZA"/>
          </a:p>
        </p:txBody>
      </p:sp>
      <p:sp>
        <p:nvSpPr>
          <p:cNvPr id="13" name="Rectangle 12">
            <a:extLst>
              <a:ext uri="{FF2B5EF4-FFF2-40B4-BE49-F238E27FC236}">
                <a16:creationId xmlns:a16="http://schemas.microsoft.com/office/drawing/2014/main" id="{D77DC8D4-9E3B-4E17-82AD-FD6C83141CDD}"/>
              </a:ext>
            </a:extLst>
          </p:cNvPr>
          <p:cNvSpPr/>
          <p:nvPr/>
        </p:nvSpPr>
        <p:spPr>
          <a:xfrm>
            <a:off x="377566" y="1179007"/>
            <a:ext cx="11547341" cy="1097850"/>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9" name="Rectangle 18">
            <a:extLst>
              <a:ext uri="{FF2B5EF4-FFF2-40B4-BE49-F238E27FC236}">
                <a16:creationId xmlns:a16="http://schemas.microsoft.com/office/drawing/2014/main" id="{B83DA935-4FC8-41C1-92AE-C313A09EF61D}"/>
              </a:ext>
            </a:extLst>
          </p:cNvPr>
          <p:cNvSpPr/>
          <p:nvPr/>
        </p:nvSpPr>
        <p:spPr>
          <a:xfrm>
            <a:off x="541450"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1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App Deploy Automation</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graphicFrame>
        <p:nvGraphicFramePr>
          <p:cNvPr id="12" name="Table 11">
            <a:extLst>
              <a:ext uri="{FF2B5EF4-FFF2-40B4-BE49-F238E27FC236}">
                <a16:creationId xmlns:a16="http://schemas.microsoft.com/office/drawing/2014/main" id="{18069194-4058-49E6-BA4C-7954C0646E61}"/>
              </a:ext>
            </a:extLst>
          </p:cNvPr>
          <p:cNvGraphicFramePr>
            <a:graphicFrameLocks noGrp="1"/>
          </p:cNvGraphicFramePr>
          <p:nvPr>
            <p:extLst>
              <p:ext uri="{D42A27DB-BD31-4B8C-83A1-F6EECF244321}">
                <p14:modId xmlns:p14="http://schemas.microsoft.com/office/powerpoint/2010/main" val="4002037866"/>
              </p:ext>
            </p:extLst>
          </p:nvPr>
        </p:nvGraphicFramePr>
        <p:xfrm>
          <a:off x="377566" y="2227201"/>
          <a:ext cx="11669890" cy="3967200"/>
        </p:xfrm>
        <a:graphic>
          <a:graphicData uri="http://schemas.openxmlformats.org/drawingml/2006/table">
            <a:tbl>
              <a:tblPr firstRow="1" firstCol="1">
                <a:tableStyleId>{3B4B98B0-60AC-42C2-AFA5-B58CD77FA1E5}</a:tableStyleId>
              </a:tblPr>
              <a:tblGrid>
                <a:gridCol w="1323218">
                  <a:extLst>
                    <a:ext uri="{9D8B030D-6E8A-4147-A177-3AD203B41FA5}">
                      <a16:colId xmlns:a16="http://schemas.microsoft.com/office/drawing/2014/main" val="20000"/>
                    </a:ext>
                  </a:extLst>
                </a:gridCol>
                <a:gridCol w="400742">
                  <a:extLst>
                    <a:ext uri="{9D8B030D-6E8A-4147-A177-3AD203B41FA5}">
                      <a16:colId xmlns:a16="http://schemas.microsoft.com/office/drawing/2014/main" val="2023413108"/>
                    </a:ext>
                  </a:extLst>
                </a:gridCol>
                <a:gridCol w="2179240">
                  <a:extLst>
                    <a:ext uri="{9D8B030D-6E8A-4147-A177-3AD203B41FA5}">
                      <a16:colId xmlns:a16="http://schemas.microsoft.com/office/drawing/2014/main" val="20001"/>
                    </a:ext>
                  </a:extLst>
                </a:gridCol>
                <a:gridCol w="7766690">
                  <a:extLst>
                    <a:ext uri="{9D8B030D-6E8A-4147-A177-3AD203B41FA5}">
                      <a16:colId xmlns:a16="http://schemas.microsoft.com/office/drawing/2014/main" val="20002"/>
                    </a:ext>
                  </a:extLst>
                </a:gridCol>
              </a:tblGrid>
              <a:tr h="0">
                <a:tc gridSpan="2">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Application Domain</a:t>
                      </a:r>
                      <a:endParaRPr lang="en-US" sz="1000" b="1" kern="1200">
                        <a:solidFill>
                          <a:schemeClr val="tx1"/>
                        </a:solidFill>
                        <a:latin typeface="+mn-lt"/>
                        <a:ea typeface="+mn-ea"/>
                        <a:cs typeface="+mn-cs"/>
                      </a:endParaRPr>
                    </a:p>
                  </a:txBody>
                  <a:tcPr marL="72000" marR="72000" marT="36000" marB="36000"/>
                </a:tc>
                <a:tc hMerge="1">
                  <a:txBody>
                    <a:bodyPr/>
                    <a:lstStyle/>
                    <a:p>
                      <a:pPr marL="0" algn="l" defTabSz="914400" rtl="0" eaLnBrk="0" fontAlgn="base" latinLnBrk="0" hangingPunct="0">
                        <a:spcBef>
                          <a:spcPct val="0"/>
                        </a:spcBef>
                        <a:spcAft>
                          <a:spcPct val="0"/>
                        </a:spcAft>
                        <a:buClr>
                          <a:srgbClr val="4F81BD"/>
                        </a:buClr>
                      </a:pPr>
                      <a:endParaRPr lang="en-US" sz="1000" b="1" kern="1200">
                        <a:solidFill>
                          <a:schemeClr val="tx1"/>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Application</a:t>
                      </a:r>
                      <a:r>
                        <a:rPr lang="en-US" sz="1000" kern="1200" baseline="0">
                          <a:solidFill>
                            <a:schemeClr val="tx1"/>
                          </a:solidFill>
                          <a:latin typeface="+mn-lt"/>
                        </a:rPr>
                        <a:t> </a:t>
                      </a:r>
                      <a:r>
                        <a:rPr lang="en-US" sz="1000" kern="1200">
                          <a:solidFill>
                            <a:schemeClr val="tx1"/>
                          </a:solidFill>
                          <a:latin typeface="+mn-lt"/>
                        </a:rPr>
                        <a:t>Block</a:t>
                      </a:r>
                      <a:endParaRPr lang="en-US" sz="1000" b="1" kern="1200">
                        <a:solidFill>
                          <a:schemeClr val="tx1"/>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Description</a:t>
                      </a:r>
                      <a:endParaRPr lang="en-US" sz="1000" b="1" kern="1200">
                        <a:solidFill>
                          <a:schemeClr val="tx1"/>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176975">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rPr>
                        <a:t>5.2 Development Services</a:t>
                      </a:r>
                      <a:endParaRPr lang="en-US" sz="1000" b="1" kern="1200">
                        <a:solidFill>
                          <a:schemeClr val="tx1"/>
                        </a:solidFill>
                        <a:latin typeface="+mn-lt"/>
                        <a:ea typeface=""/>
                        <a:cs typeface=""/>
                      </a:endParaRPr>
                    </a:p>
                  </a:txBody>
                  <a:tcPr marL="72000" marR="72000" marT="36000" marB="36000">
                    <a:solidFill>
                      <a:schemeClr val="accent5">
                        <a:lumMod val="20000"/>
                        <a:lumOff val="8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a:solidFill>
                          <a:srgbClr val="000000"/>
                        </a:solidFill>
                        <a:effectLst/>
                        <a:latin typeface="+mn-lt"/>
                      </a:endParaRPr>
                    </a:p>
                  </a:txBody>
                  <a:tcPr marL="72000" marR="72000" marT="36000" marB="36000" anchor="ctr">
                    <a:solidFill>
                      <a:schemeClr val="accent5">
                        <a:lumMod val="20000"/>
                        <a:lumOff val="80000"/>
                      </a:schemeClr>
                    </a:solidFill>
                  </a:tcPr>
                </a:tc>
                <a:extLst>
                  <a:ext uri="{0D108BD9-81ED-4DB2-BD59-A6C34878D82A}">
                    <a16:rowId xmlns:a16="http://schemas.microsoft.com/office/drawing/2014/main" val="3880175647"/>
                  </a:ext>
                </a:extLst>
              </a:tr>
              <a:tr h="204558">
                <a:tc rowSpan="6">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mn-lt"/>
                        </a:rPr>
                        <a:t>5.2 Development Services</a:t>
                      </a: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 App Deploy Automation</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 App Deploy Automation</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Develop, build, and deploy applications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20455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gridSpan="2">
                  <a:txBody>
                    <a:bodyPr/>
                    <a:lstStyle/>
                    <a:p>
                      <a:r>
                        <a:rPr kumimoji="0" lang="en-US" sz="1000" b="0" u="none" strike="noStrike" kern="1200" cap="none" spc="0" normalizeH="0" baseline="0" noProof="0">
                          <a:ln>
                            <a:noFill/>
                          </a:ln>
                          <a:solidFill>
                            <a:schemeClr val="tx1"/>
                          </a:solidFill>
                          <a:effectLst/>
                          <a:uLnTx/>
                          <a:uFillTx/>
                          <a:latin typeface="+mn-lt"/>
                        </a:rPr>
                        <a:t>5.2.2 Distributed App</a:t>
                      </a:r>
                      <a:endParaRPr lang="en-US"/>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2 Distributed App</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Component coordination for distributed applica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334849182"/>
                  </a:ext>
                </a:extLst>
              </a:tr>
              <a:tr h="204558">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gridSpan="2">
                  <a:txBody>
                    <a:bodyPr/>
                    <a:lstStyle/>
                    <a:p>
                      <a:r>
                        <a:rPr kumimoji="0" lang="en-US" sz="1000" b="0" u="none" strike="noStrike" kern="1200" cap="none" spc="0" normalizeH="0" baseline="0" noProof="0">
                          <a:ln>
                            <a:noFill/>
                          </a:ln>
                          <a:solidFill>
                            <a:schemeClr val="tx1"/>
                          </a:solidFill>
                          <a:effectLst/>
                          <a:uLnTx/>
                          <a:uFillTx/>
                          <a:latin typeface="+mn-lt"/>
                        </a:rPr>
                        <a:t>5.2.3 App Testing</a:t>
                      </a:r>
                      <a:endParaRPr lang="en-US"/>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3 App Testing</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Provision development and test environment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204558">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gridSpan="2">
                  <a:txBody>
                    <a:bodyPr/>
                    <a:lstStyle/>
                    <a:p>
                      <a:r>
                        <a:rPr kumimoji="0" lang="en-US" sz="1000" b="0" u="none" strike="noStrike" kern="1200" cap="none" spc="0" normalizeH="0" baseline="0" noProof="0">
                          <a:ln>
                            <a:noFill/>
                          </a:ln>
                          <a:solidFill>
                            <a:schemeClr val="tx1"/>
                          </a:solidFill>
                          <a:effectLst/>
                          <a:uLnTx/>
                          <a:uFillTx/>
                          <a:latin typeface="+mn-lt"/>
                        </a:rPr>
                        <a:t>5.2.4 DevOps Pipeline</a:t>
                      </a:r>
                      <a:endParaRPr lang="en-US"/>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4 DevOps Pipeline</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Continuous integration and continuous delivery service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gridSpan="2">
                  <a:txBody>
                    <a:bodyPr/>
                    <a:lstStyle/>
                    <a:p>
                      <a:r>
                        <a:rPr kumimoji="0" lang="en-US" sz="1000" b="0" u="none" strike="noStrike" kern="1200" cap="none" spc="0" normalizeH="0" baseline="0" noProof="0">
                          <a:ln>
                            <a:noFill/>
                          </a:ln>
                          <a:solidFill>
                            <a:schemeClr val="tx1"/>
                          </a:solidFill>
                          <a:effectLst/>
                          <a:uLnTx/>
                          <a:uFillTx/>
                          <a:latin typeface="+mn-lt"/>
                        </a:rPr>
                        <a:t>5.2.5 Container Orchestration</a:t>
                      </a:r>
                      <a:endParaRPr lang="en-US"/>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5 Container Orchestration</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Reliably scale, secure and manage the lifecycle of container-based solutions </a:t>
                      </a:r>
                      <a:r>
                        <a:rPr lang="en-GB" sz="1000" b="0" u="none" strike="noStrike">
                          <a:solidFill>
                            <a:srgbClr val="000000"/>
                          </a:solidFill>
                          <a:effectLst/>
                          <a:latin typeface="+mn-lt"/>
                        </a:rPr>
                        <a:t> including provisioning, deployment, scaling (up and down), networking, load balancing and more</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3"/>
                  </a:ext>
                </a:extLst>
              </a:tr>
              <a:tr h="204558">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tcPr>
                </a:tc>
                <a:tc gridSpan="2">
                  <a:txBody>
                    <a:bodyPr/>
                    <a:lstStyle/>
                    <a:p>
                      <a:r>
                        <a:rPr kumimoji="0" lang="en-US" sz="1000" b="0" u="none" strike="noStrike" kern="1200" cap="none" spc="0" normalizeH="0" baseline="0" noProof="0">
                          <a:ln>
                            <a:noFill/>
                          </a:ln>
                          <a:solidFill>
                            <a:schemeClr val="tx1"/>
                          </a:solidFill>
                          <a:effectLst/>
                          <a:uLnTx/>
                          <a:uFillTx/>
                          <a:latin typeface="+mn-lt"/>
                        </a:rPr>
                        <a:t>5.2.6 Managed Source Code</a:t>
                      </a:r>
                      <a:endParaRPr lang="en-US"/>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6 Managed Source Code</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Secure and scalable version control system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9"/>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7 Web Apps</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7 Web Apps</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Automatic deployment of applications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4047669871"/>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8 Cloud IDE</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8 Cloud IDE</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latin typeface="+mn-lt"/>
                        </a:rPr>
                        <a:t>Cloud-based Integrated Development Environment</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3592114141"/>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9 API Mgmt.</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9 API Mgm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latin typeface="+mn-lt"/>
                        </a:rPr>
                        <a:t>Create, publish, maintain, monitor, and secure APIs</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2565267797"/>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0 Build Automation</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0 Build Automation</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latin typeface="+mn-lt"/>
                        </a:rPr>
                        <a:t>Build services to compile source code, runs tests, and produces packages</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3629099668"/>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1 Code Analysis</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1 Code Analysis</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latin typeface="+mn-lt"/>
                        </a:rPr>
                        <a:t>Analyze and debug applications for troubleshooting</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4022162919"/>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2 Continuous Delivery</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2 Continuous Delivery</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solidFill>
                            <a:schemeClr val="tx1"/>
                          </a:solidFill>
                          <a:latin typeface="+mn-lt"/>
                        </a:rPr>
                        <a:t>Automated code deployment tools</a:t>
                      </a:r>
                      <a:endParaRPr lang="en-US" sz="1000">
                        <a:solidFill>
                          <a:schemeClr val="tx1"/>
                        </a:solidFill>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1764177100"/>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3 Game Development</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schemeClr val="tx1"/>
                          </a:solidFill>
                          <a:effectLst/>
                          <a:uLnTx/>
                          <a:uFillTx/>
                          <a:latin typeface="+mn-lt"/>
                        </a:rPr>
                        <a:t>5.2.13 Game Developmen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solidFill>
                            <a:schemeClr val="tx1"/>
                          </a:solidFill>
                          <a:latin typeface="+mn-lt"/>
                        </a:rPr>
                        <a:t>Set of tools to create games and communities</a:t>
                      </a:r>
                      <a:endParaRPr lang="en-US" sz="1000">
                        <a:solidFill>
                          <a:schemeClr val="tx1"/>
                        </a:solidFill>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3459376602"/>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5.2.14 App Performance Monitoring</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mn-lt"/>
                          <a:ea typeface="+mn-ea"/>
                          <a:cs typeface="+mn-cs"/>
                        </a:rPr>
                        <a:t>5.2.14 App Performance Monitoring</a:t>
                      </a: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solidFill>
                            <a:schemeClr val="tx1"/>
                          </a:solidFill>
                          <a:latin typeface="+mn-lt"/>
                          <a:ea typeface="Verdana" panose="020B0604030504040204" pitchFamily="34" charset="0"/>
                          <a:cs typeface="Verdana" panose="020B0604030504040204" pitchFamily="34" charset="0"/>
                        </a:rPr>
                        <a:t>Collect, access, and corelate data for cloud-based applications performance </a:t>
                      </a:r>
                    </a:p>
                  </a:txBody>
                  <a:tcPr marL="72000" marR="72000" marT="36000" marB="36000" anchor="ctr"/>
                </a:tc>
                <a:extLst>
                  <a:ext uri="{0D108BD9-81ED-4DB2-BD59-A6C34878D82A}">
                    <a16:rowId xmlns:a16="http://schemas.microsoft.com/office/drawing/2014/main" val="2969404264"/>
                  </a:ext>
                </a:extLst>
              </a:tr>
              <a:tr h="204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
                        <a:cs typeface=""/>
                      </a:endParaRPr>
                    </a:p>
                  </a:txBody>
                  <a:tcPr marL="72000" marR="72000" marT="36000" marB="36000"/>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5.2.15 Cloud Environment Governance</a:t>
                      </a:r>
                      <a:endParaRPr lang="en-US" sz="1000" b="1" kern="1200">
                        <a:solidFill>
                          <a:schemeClr val="tx1"/>
                        </a:solidFill>
                        <a:latin typeface="+mn-lt"/>
                        <a:ea typeface=""/>
                        <a:cs typeface=""/>
                      </a:endParaRPr>
                    </a:p>
                  </a:txBody>
                  <a:tcPr marL="72000" marR="72000" marT="36000" marB="36000"/>
                </a:tc>
                <a:tc h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0000"/>
                          </a:solidFill>
                          <a:effectLst/>
                          <a:uLnTx/>
                          <a:uFillTx/>
                          <a:latin typeface="+mn-lt"/>
                          <a:ea typeface="+mn-ea"/>
                          <a:cs typeface="+mn-cs"/>
                        </a:rPr>
                        <a:t>5.2.15 Environment Governance</a:t>
                      </a: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a:solidFill>
                            <a:schemeClr val="tx1"/>
                          </a:solidFill>
                          <a:latin typeface="+mn-lt"/>
                          <a:ea typeface="Verdana" panose="020B0604030504040204" pitchFamily="34" charset="0"/>
                          <a:cs typeface="Verdana" panose="020B0604030504040204" pitchFamily="34" charset="0"/>
                        </a:rPr>
                        <a:t>Rules, standards, and controls for the use of a cloud-based environment</a:t>
                      </a:r>
                    </a:p>
                  </a:txBody>
                  <a:tcPr marL="72000" marR="72000" marT="36000" marB="36000" anchor="ctr"/>
                </a:tc>
                <a:extLst>
                  <a:ext uri="{0D108BD9-81ED-4DB2-BD59-A6C34878D82A}">
                    <a16:rowId xmlns:a16="http://schemas.microsoft.com/office/drawing/2014/main" val="420405848"/>
                  </a:ext>
                </a:extLst>
              </a:tr>
            </a:tbl>
          </a:graphicData>
        </a:graphic>
      </p:graphicFrame>
      <p:sp>
        <p:nvSpPr>
          <p:cNvPr id="14" name="Rectangle 13">
            <a:extLst>
              <a:ext uri="{FF2B5EF4-FFF2-40B4-BE49-F238E27FC236}">
                <a16:creationId xmlns:a16="http://schemas.microsoft.com/office/drawing/2014/main" id="{4C76733A-C760-4BDA-A080-3216B1126CAA}"/>
              </a:ext>
            </a:extLst>
          </p:cNvPr>
          <p:cNvSpPr/>
          <p:nvPr/>
        </p:nvSpPr>
        <p:spPr>
          <a:xfrm>
            <a:off x="1965932"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2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Distributed App</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5" name="Rectangle 14">
            <a:extLst>
              <a:ext uri="{FF2B5EF4-FFF2-40B4-BE49-F238E27FC236}">
                <a16:creationId xmlns:a16="http://schemas.microsoft.com/office/drawing/2014/main" id="{544DE2AC-7B58-4A86-A0F9-1BDC883F2C85}"/>
              </a:ext>
            </a:extLst>
          </p:cNvPr>
          <p:cNvSpPr/>
          <p:nvPr/>
        </p:nvSpPr>
        <p:spPr>
          <a:xfrm>
            <a:off x="3390414"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3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A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Testing</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33" name="Rectangle 32">
            <a:extLst>
              <a:ext uri="{FF2B5EF4-FFF2-40B4-BE49-F238E27FC236}">
                <a16:creationId xmlns:a16="http://schemas.microsoft.com/office/drawing/2014/main" id="{54FD6896-CB7B-4246-8EE6-167FEC047C04}"/>
              </a:ext>
            </a:extLst>
          </p:cNvPr>
          <p:cNvSpPr/>
          <p:nvPr/>
        </p:nvSpPr>
        <p:spPr>
          <a:xfrm>
            <a:off x="4814896"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DevOps Pipelin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34" name="Rectangle 33">
            <a:extLst>
              <a:ext uri="{FF2B5EF4-FFF2-40B4-BE49-F238E27FC236}">
                <a16:creationId xmlns:a16="http://schemas.microsoft.com/office/drawing/2014/main" id="{A1AE4217-AA23-448A-9004-B8AFA0C93F54}"/>
              </a:ext>
            </a:extLst>
          </p:cNvPr>
          <p:cNvSpPr/>
          <p:nvPr/>
        </p:nvSpPr>
        <p:spPr>
          <a:xfrm>
            <a:off x="6239378"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Graphik" panose="020B0503030202060203" pitchFamily="34" charset="0"/>
              </a:rPr>
              <a:t>5.2.5 Micro</a:t>
            </a:r>
          </a:p>
          <a:p>
            <a:pPr algn="ctr"/>
            <a:r>
              <a:rPr lang="en-US" sz="1000">
                <a:solidFill>
                  <a:schemeClr val="bg1"/>
                </a:solidFill>
                <a:latin typeface="Graphik" panose="020B0503030202060203" pitchFamily="34" charset="0"/>
              </a:rPr>
              <a:t>services</a:t>
            </a:r>
          </a:p>
        </p:txBody>
      </p:sp>
      <p:sp>
        <p:nvSpPr>
          <p:cNvPr id="35" name="Rectangle 34">
            <a:extLst>
              <a:ext uri="{FF2B5EF4-FFF2-40B4-BE49-F238E27FC236}">
                <a16:creationId xmlns:a16="http://schemas.microsoft.com/office/drawing/2014/main" id="{4E58F28A-8086-4215-ADA6-DD66FC3BE587}"/>
              </a:ext>
            </a:extLst>
          </p:cNvPr>
          <p:cNvSpPr/>
          <p:nvPr/>
        </p:nvSpPr>
        <p:spPr>
          <a:xfrm>
            <a:off x="7663860"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6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Managed Source Cod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36" name="Rectangle 35">
            <a:extLst>
              <a:ext uri="{FF2B5EF4-FFF2-40B4-BE49-F238E27FC236}">
                <a16:creationId xmlns:a16="http://schemas.microsoft.com/office/drawing/2014/main" id="{CB920E0A-295B-47B9-882B-000DCDD20F18}"/>
              </a:ext>
            </a:extLst>
          </p:cNvPr>
          <p:cNvSpPr/>
          <p:nvPr/>
        </p:nvSpPr>
        <p:spPr>
          <a:xfrm>
            <a:off x="3394150" y="1734104"/>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11  Code Analysis</a:t>
            </a:r>
          </a:p>
        </p:txBody>
      </p:sp>
      <p:sp>
        <p:nvSpPr>
          <p:cNvPr id="37" name="Rectangle 36">
            <a:extLst>
              <a:ext uri="{FF2B5EF4-FFF2-40B4-BE49-F238E27FC236}">
                <a16:creationId xmlns:a16="http://schemas.microsoft.com/office/drawing/2014/main" id="{CB4B2606-EC40-4D1B-B58C-4FDFB1D0414B}"/>
              </a:ext>
            </a:extLst>
          </p:cNvPr>
          <p:cNvSpPr/>
          <p:nvPr/>
        </p:nvSpPr>
        <p:spPr>
          <a:xfrm>
            <a:off x="9088343"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7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We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 Apps</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38" name="Rectangle 37">
            <a:extLst>
              <a:ext uri="{FF2B5EF4-FFF2-40B4-BE49-F238E27FC236}">
                <a16:creationId xmlns:a16="http://schemas.microsoft.com/office/drawing/2014/main" id="{6CBD3D34-1F88-429C-8139-BBC6860F2CCA}"/>
              </a:ext>
            </a:extLst>
          </p:cNvPr>
          <p:cNvSpPr/>
          <p:nvPr/>
        </p:nvSpPr>
        <p:spPr>
          <a:xfrm>
            <a:off x="10512823" y="1226152"/>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8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Cloud ID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39" name="Rectangle 38">
            <a:extLst>
              <a:ext uri="{FF2B5EF4-FFF2-40B4-BE49-F238E27FC236}">
                <a16:creationId xmlns:a16="http://schemas.microsoft.com/office/drawing/2014/main" id="{39563CEA-1065-4C65-B3B4-F5C56F2AD955}"/>
              </a:ext>
            </a:extLst>
          </p:cNvPr>
          <p:cNvSpPr/>
          <p:nvPr/>
        </p:nvSpPr>
        <p:spPr>
          <a:xfrm>
            <a:off x="541450" y="1734104"/>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API Mgmt.</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41" name="Rectangle 40">
            <a:extLst>
              <a:ext uri="{FF2B5EF4-FFF2-40B4-BE49-F238E27FC236}">
                <a16:creationId xmlns:a16="http://schemas.microsoft.com/office/drawing/2014/main" id="{D93E3073-9D08-43FF-90D0-46923245C628}"/>
              </a:ext>
            </a:extLst>
          </p:cNvPr>
          <p:cNvSpPr/>
          <p:nvPr/>
        </p:nvSpPr>
        <p:spPr>
          <a:xfrm>
            <a:off x="1965933" y="1734104"/>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10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Build Automation</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42" name="Rectangle 41">
            <a:extLst>
              <a:ext uri="{FF2B5EF4-FFF2-40B4-BE49-F238E27FC236}">
                <a16:creationId xmlns:a16="http://schemas.microsoft.com/office/drawing/2014/main" id="{6139345E-9A9B-42F1-9331-546A707AC335}"/>
              </a:ext>
            </a:extLst>
          </p:cNvPr>
          <p:cNvSpPr/>
          <p:nvPr/>
        </p:nvSpPr>
        <p:spPr>
          <a:xfrm>
            <a:off x="4822367" y="1742436"/>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12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Continuous Delivery</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43" name="Rectangle 42">
            <a:extLst>
              <a:ext uri="{FF2B5EF4-FFF2-40B4-BE49-F238E27FC236}">
                <a16:creationId xmlns:a16="http://schemas.microsoft.com/office/drawing/2014/main" id="{B8281765-7A6B-4747-AAE2-86B1472B8C8F}"/>
              </a:ext>
            </a:extLst>
          </p:cNvPr>
          <p:cNvSpPr/>
          <p:nvPr/>
        </p:nvSpPr>
        <p:spPr>
          <a:xfrm>
            <a:off x="6246850" y="1726313"/>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2.13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Game Development</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2" name="Rectangle 21">
            <a:extLst>
              <a:ext uri="{FF2B5EF4-FFF2-40B4-BE49-F238E27FC236}">
                <a16:creationId xmlns:a16="http://schemas.microsoft.com/office/drawing/2014/main" id="{FAF0DFE7-D588-42EE-A928-957A4390272A}"/>
              </a:ext>
            </a:extLst>
          </p:cNvPr>
          <p:cNvSpPr/>
          <p:nvPr/>
        </p:nvSpPr>
        <p:spPr>
          <a:xfrm>
            <a:off x="7671333" y="1742436"/>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bg1"/>
                </a:solidFill>
                <a:latin typeface="Graphik" panose="020B0503030202060203" pitchFamily="34" charset="0"/>
              </a:rPr>
              <a:t>5.2.14 App Performance Monitoring </a:t>
            </a:r>
          </a:p>
        </p:txBody>
      </p:sp>
      <p:sp>
        <p:nvSpPr>
          <p:cNvPr id="23" name="Rectangle 22">
            <a:extLst>
              <a:ext uri="{FF2B5EF4-FFF2-40B4-BE49-F238E27FC236}">
                <a16:creationId xmlns:a16="http://schemas.microsoft.com/office/drawing/2014/main" id="{A88813E3-583E-48BA-A1EA-8D092B6ED038}"/>
              </a:ext>
            </a:extLst>
          </p:cNvPr>
          <p:cNvSpPr/>
          <p:nvPr/>
        </p:nvSpPr>
        <p:spPr>
          <a:xfrm>
            <a:off x="9095816" y="1742436"/>
            <a:ext cx="1330727" cy="490623"/>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000">
                <a:solidFill>
                  <a:schemeClr val="bg1"/>
                </a:solidFill>
                <a:latin typeface="Graphik" panose="020B0503030202060203" pitchFamily="34" charset="0"/>
              </a:rPr>
              <a:t>5.2.15 Environment Governance</a:t>
            </a:r>
          </a:p>
        </p:txBody>
      </p:sp>
    </p:spTree>
    <p:extLst>
      <p:ext uri="{BB962C8B-B14F-4D97-AF65-F5344CB8AC3E}">
        <p14:creationId xmlns:p14="http://schemas.microsoft.com/office/powerpoint/2010/main" val="1760734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5" y="1045503"/>
            <a:ext cx="11115675" cy="215444"/>
          </a:xfrm>
        </p:spPr>
        <p:txBody>
          <a:bodyPr/>
          <a:lstStyle/>
          <a:p>
            <a:r>
              <a:rPr lang="en-US" b="1">
                <a:solidFill>
                  <a:schemeClr val="accent1"/>
                </a:solidFill>
              </a:rPr>
              <a:t>5. Cloud Applications (3/3)</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5" y="1376363"/>
            <a:ext cx="5502275" cy="1387475"/>
          </a:xfrm>
        </p:spPr>
        <p:txBody>
          <a:bodyPr>
            <a:normAutofit/>
          </a:bodyPr>
          <a:lstStyle/>
          <a:p>
            <a:r>
              <a:rPr lang="en-US"/>
              <a:t>5.3 Innovation Services</a:t>
            </a:r>
          </a:p>
          <a:p>
            <a:endParaRPr lang="en-ZA"/>
          </a:p>
        </p:txBody>
      </p:sp>
      <p:sp>
        <p:nvSpPr>
          <p:cNvPr id="13" name="Rectangle 12">
            <a:extLst>
              <a:ext uri="{FF2B5EF4-FFF2-40B4-BE49-F238E27FC236}">
                <a16:creationId xmlns:a16="http://schemas.microsoft.com/office/drawing/2014/main" id="{D77DC8D4-9E3B-4E17-82AD-FD6C83141CDD}"/>
              </a:ext>
            </a:extLst>
          </p:cNvPr>
          <p:cNvSpPr/>
          <p:nvPr/>
        </p:nvSpPr>
        <p:spPr>
          <a:xfrm>
            <a:off x="695326" y="1822639"/>
            <a:ext cx="4393142" cy="903047"/>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9" name="Rectangle 18">
            <a:extLst>
              <a:ext uri="{FF2B5EF4-FFF2-40B4-BE49-F238E27FC236}">
                <a16:creationId xmlns:a16="http://schemas.microsoft.com/office/drawing/2014/main" id="{B83DA935-4FC8-41C1-92AE-C313A09EF61D}"/>
              </a:ext>
            </a:extLst>
          </p:cNvPr>
          <p:cNvSpPr/>
          <p:nvPr/>
        </p:nvSpPr>
        <p:spPr>
          <a:xfrm>
            <a:off x="898405" y="1952730"/>
            <a:ext cx="959559"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3.1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AR/VR</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4" name="Rectangle 23">
            <a:extLst>
              <a:ext uri="{FF2B5EF4-FFF2-40B4-BE49-F238E27FC236}">
                <a16:creationId xmlns:a16="http://schemas.microsoft.com/office/drawing/2014/main" id="{64ABC8C5-9B44-4552-89D8-2F34B680A9B0}"/>
              </a:ext>
            </a:extLst>
          </p:cNvPr>
          <p:cNvSpPr/>
          <p:nvPr/>
        </p:nvSpPr>
        <p:spPr>
          <a:xfrm>
            <a:off x="1941978" y="1952730"/>
            <a:ext cx="92900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3.2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Edge Compute</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25" name="Rectangle 24">
            <a:extLst>
              <a:ext uri="{FF2B5EF4-FFF2-40B4-BE49-F238E27FC236}">
                <a16:creationId xmlns:a16="http://schemas.microsoft.com/office/drawing/2014/main" id="{555A3D24-3F89-4F36-BB5C-740CDBCDB55F}"/>
              </a:ext>
            </a:extLst>
          </p:cNvPr>
          <p:cNvSpPr/>
          <p:nvPr/>
        </p:nvSpPr>
        <p:spPr>
          <a:xfrm>
            <a:off x="2954992" y="1952730"/>
            <a:ext cx="92900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5.3.3 IOT</a:t>
            </a:r>
          </a:p>
        </p:txBody>
      </p:sp>
      <p:sp>
        <p:nvSpPr>
          <p:cNvPr id="26" name="Rectangle 25">
            <a:extLst>
              <a:ext uri="{FF2B5EF4-FFF2-40B4-BE49-F238E27FC236}">
                <a16:creationId xmlns:a16="http://schemas.microsoft.com/office/drawing/2014/main" id="{EA6F4140-BC72-44D1-8BC6-54A3D8FC06C1}"/>
              </a:ext>
            </a:extLst>
          </p:cNvPr>
          <p:cNvSpPr/>
          <p:nvPr/>
        </p:nvSpPr>
        <p:spPr>
          <a:xfrm>
            <a:off x="3968006" y="1952730"/>
            <a:ext cx="90914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chemeClr val="bg1"/>
                </a:solidFill>
                <a:latin typeface="Graphik" panose="020B0503030202060203" pitchFamily="34" charset="0"/>
              </a:rPr>
              <a:t>5.3</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rPr>
              <a:t>.4 </a:t>
            </a:r>
            <a:r>
              <a:rPr kumimoji="0" lang="en-US" sz="1000" b="0" i="0" u="none" strike="noStrike" kern="1200" cap="none" spc="0" normalizeH="0" baseline="0" noProof="0">
                <a:ln>
                  <a:noFill/>
                </a:ln>
                <a:solidFill>
                  <a:schemeClr val="bg1"/>
                </a:solidFill>
                <a:effectLst/>
                <a:uLnTx/>
                <a:uFillTx/>
                <a:latin typeface="Graphik" panose="020B0503030202060203" pitchFamily="34" charset="0"/>
                <a:ea typeface="Tahoma" panose="020B0604030504040204" pitchFamily="34" charset="0"/>
                <a:cs typeface="Tahoma" panose="020B0604030504040204" pitchFamily="34" charset="0"/>
              </a:rPr>
              <a:t>Blockchain</a:t>
            </a: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graphicFrame>
        <p:nvGraphicFramePr>
          <p:cNvPr id="12" name="Table 11">
            <a:extLst>
              <a:ext uri="{FF2B5EF4-FFF2-40B4-BE49-F238E27FC236}">
                <a16:creationId xmlns:a16="http://schemas.microsoft.com/office/drawing/2014/main" id="{18069194-4058-49E6-BA4C-7954C0646E61}"/>
              </a:ext>
            </a:extLst>
          </p:cNvPr>
          <p:cNvGraphicFramePr>
            <a:graphicFrameLocks noGrp="1"/>
          </p:cNvGraphicFramePr>
          <p:nvPr>
            <p:extLst>
              <p:ext uri="{D42A27DB-BD31-4B8C-83A1-F6EECF244321}">
                <p14:modId xmlns:p14="http://schemas.microsoft.com/office/powerpoint/2010/main" val="556813523"/>
              </p:ext>
            </p:extLst>
          </p:nvPr>
        </p:nvGraphicFramePr>
        <p:xfrm>
          <a:off x="695325" y="3023762"/>
          <a:ext cx="10729912" cy="195600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003708">
                  <a:extLst>
                    <a:ext uri="{9D8B030D-6E8A-4147-A177-3AD203B41FA5}">
                      <a16:colId xmlns:a16="http://schemas.microsoft.com/office/drawing/2014/main" val="20001"/>
                    </a:ext>
                  </a:extLst>
                </a:gridCol>
                <a:gridCol w="7141104">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kern="1200">
                          <a:solidFill>
                            <a:schemeClr val="tx1"/>
                          </a:solidFill>
                          <a:latin typeface="+mn-lt"/>
                        </a:rPr>
                        <a:t>5.3 Innovation Services</a:t>
                      </a:r>
                      <a:endParaRPr lang="en-US" sz="1000" b="1">
                        <a:latin typeface="+mn-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en-US" sz="1000" b="1">
                        <a:latin typeface="+mn-lt"/>
                      </a:endParaRPr>
                    </a:p>
                  </a:txBody>
                  <a:tcPr marL="72000" marR="72000" marT="36000" marB="36000">
                    <a:solidFill>
                      <a:schemeClr val="accent5">
                        <a:lumMod val="20000"/>
                        <a:lumOff val="80000"/>
                      </a:schemeClr>
                    </a:solidFill>
                  </a:tcPr>
                </a:tc>
                <a:tc hMerge="1">
                  <a:txBody>
                    <a:bodyPr/>
                    <a:lstStyle/>
                    <a:p>
                      <a:pPr algn="l" fontAlgn="b"/>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a:solidFill>
                          <a:srgbClr val="000000"/>
                        </a:solidFill>
                        <a:effectLst/>
                        <a:latin typeface="+mn-lt"/>
                      </a:endParaRPr>
                    </a:p>
                  </a:txBody>
                  <a:tcPr marL="72000" marR="72000" marT="36000" marB="36000" anchor="ctr">
                    <a:solidFill>
                      <a:schemeClr val="accent5">
                        <a:lumMod val="20000"/>
                        <a:lumOff val="80000"/>
                      </a:schemeClr>
                    </a:solidFill>
                  </a:tcPr>
                </a:tc>
                <a:extLst>
                  <a:ext uri="{0D108BD9-81ED-4DB2-BD59-A6C34878D82A}">
                    <a16:rowId xmlns:a16="http://schemas.microsoft.com/office/drawing/2014/main" val="5262244"/>
                  </a:ext>
                </a:extLst>
              </a:tr>
              <a:tr h="0">
                <a:tc rowSpan="4">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b="1" kern="1200">
                          <a:solidFill>
                            <a:schemeClr val="tx1"/>
                          </a:solidFill>
                          <a:latin typeface="+mn-lt"/>
                        </a:rPr>
                        <a:t>5.3 Innovation Services</a:t>
                      </a:r>
                      <a:endParaRPr lang="en-US" sz="1000" b="1">
                        <a:latin typeface="+mn-lt"/>
                      </a:endParaRPr>
                    </a:p>
                  </a:txBody>
                  <a:tcPr marL="72000" marR="72000" marT="36000" marB="36000"/>
                </a:tc>
                <a:tc>
                  <a:txBody>
                    <a:bodyPr/>
                    <a:lstStyle/>
                    <a:p>
                      <a:pPr algn="l" fontAlgn="b"/>
                      <a:r>
                        <a:rPr lang="en-US" sz="1000" b="0" u="none" strike="noStrike">
                          <a:solidFill>
                            <a:srgbClr val="000000"/>
                          </a:solidFill>
                          <a:effectLst/>
                          <a:latin typeface="+mn-lt"/>
                        </a:rPr>
                        <a:t>5.3.1 AR/VR</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u="none" strike="noStrike">
                          <a:solidFill>
                            <a:srgbClr val="000000"/>
                          </a:solidFill>
                          <a:effectLst/>
                          <a:latin typeface="+mn-lt"/>
                        </a:rPr>
                        <a:t>Create and run virtual reality (VR) and/or augmented reality (AR) based applications</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u="none" strike="noStrike">
                          <a:solidFill>
                            <a:srgbClr val="000000"/>
                          </a:solidFill>
                          <a:effectLst/>
                          <a:latin typeface="+mn-lt"/>
                        </a:rPr>
                        <a:t>5.3.2 Edge Compute</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000" b="0" i="0" u="none" strike="noStrike">
                          <a:solidFill>
                            <a:schemeClr val="tx1"/>
                          </a:solidFill>
                          <a:effectLst/>
                          <a:latin typeface="+mn-lt"/>
                        </a:rPr>
                        <a:t>Services which can be used to build high-performance applications that can process and store close to where it’s generated, enabling ultra-low latency, intelligent, and real-time responsivenes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u="none" strike="noStrike">
                          <a:solidFill>
                            <a:srgbClr val="000000"/>
                          </a:solidFill>
                          <a:effectLst/>
                          <a:latin typeface="+mn-lt"/>
                        </a:rPr>
                        <a:t>5.3.3 IOT</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000" b="0" i="0" u="none" strike="noStrike">
                          <a:solidFill>
                            <a:srgbClr val="000000"/>
                          </a:solidFill>
                          <a:effectLst/>
                          <a:latin typeface="+mn-lt"/>
                        </a:rPr>
                        <a:t>Managed service allowing you to easily and securely connect, manage, and ingest data from millions of globally dispersed devices and </a:t>
                      </a:r>
                      <a:r>
                        <a:rPr lang="en-GB" sz="1000" b="0" i="0" u="none" strike="noStrike" err="1">
                          <a:solidFill>
                            <a:srgbClr val="000000"/>
                          </a:solidFill>
                          <a:effectLst/>
                          <a:latin typeface="+mn-lt"/>
                        </a:rPr>
                        <a:t>analyze</a:t>
                      </a:r>
                      <a:r>
                        <a:rPr lang="en-GB" sz="1000" b="0" i="0" u="none" strike="noStrike">
                          <a:solidFill>
                            <a:srgbClr val="000000"/>
                          </a:solidFill>
                          <a:effectLst/>
                          <a:latin typeface="+mn-lt"/>
                        </a:rPr>
                        <a:t> data at the edge and in the cloud </a:t>
                      </a:r>
                      <a:endParaRPr lang="en-US" sz="1000" b="0" i="0" u="none" strike="noStrike">
                        <a:solidFill>
                          <a:srgbClr val="000000"/>
                        </a:solidFill>
                        <a:effectLst/>
                        <a:latin typeface="+mn-lt"/>
                      </a:endParaRPr>
                    </a:p>
                  </a:txBody>
                  <a:tcPr marL="72000" marR="72000" marT="36000" marB="36000" anchor="ctr"/>
                </a:tc>
                <a:extLst>
                  <a:ext uri="{0D108BD9-81ED-4DB2-BD59-A6C34878D82A}">
                    <a16:rowId xmlns:a16="http://schemas.microsoft.com/office/drawing/2014/main" val="2749173880"/>
                  </a:ext>
                </a:extLst>
              </a:tr>
              <a:tr h="0">
                <a:tc vMerge="1">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u="none" strike="noStrike">
                          <a:solidFill>
                            <a:srgbClr val="000000"/>
                          </a:solidFill>
                          <a:effectLst/>
                          <a:latin typeface="+mn-lt"/>
                        </a:rPr>
                        <a:t>5.3.4 Blockchain</a:t>
                      </a:r>
                      <a:endParaRPr lang="en-US" sz="1000" b="0" i="0" u="none" strike="noStrike">
                        <a:solidFill>
                          <a:srgbClr val="000000"/>
                        </a:solidFill>
                        <a:effectLst/>
                        <a:latin typeface="+mn-lt"/>
                      </a:endParaRPr>
                    </a:p>
                  </a:txBody>
                  <a:tcPr marL="72000" marR="72000" marT="36000" marB="3600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000">
                          <a:latin typeface="+mn-lt"/>
                          <a:ea typeface="Verdana" panose="020B0604030504040204" pitchFamily="34" charset="0"/>
                          <a:cs typeface="Verdana" panose="020B0604030504040204" pitchFamily="34" charset="0"/>
                        </a:rPr>
                        <a:t>Managed blockchain service that makes it easy to join public networks or create and manage scalable private networks using the popular open-source frameworks Hyperledger Fabric and Ethereum</a:t>
                      </a:r>
                      <a:endParaRPr lang="en-US" sz="1000">
                        <a:latin typeface="+mn-lt"/>
                        <a:ea typeface="Verdana" panose="020B0604030504040204" pitchFamily="34" charset="0"/>
                        <a:cs typeface="Verdana" panose="020B0604030504040204" pitchFamily="34" charset="0"/>
                      </a:endParaRPr>
                    </a:p>
                  </a:txBody>
                  <a:tcPr marL="72000" marR="72000" marT="36000" marB="3600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406301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D66476E9-2BE9-4088-A6AD-74410E900F78}"/>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004E2A65-2355-E745-AA24-6AC740C891C9}"/>
              </a:ext>
            </a:extLst>
          </p:cNvPr>
          <p:cNvSpPr>
            <a:spLocks noGrp="1"/>
          </p:cNvSpPr>
          <p:nvPr>
            <p:ph type="title"/>
          </p:nvPr>
        </p:nvSpPr>
        <p:spPr>
          <a:xfrm>
            <a:off x="1143001" y="1587631"/>
            <a:ext cx="8275319" cy="3915092"/>
          </a:xfrm>
        </p:spPr>
        <p:txBody>
          <a:bodyPr/>
          <a:lstStyle/>
          <a:p>
            <a:r>
              <a:rPr lang="en-US"/>
              <a:t>Market Leading Software and Platforms</a:t>
            </a:r>
          </a:p>
        </p:txBody>
      </p:sp>
      <p:sp>
        <p:nvSpPr>
          <p:cNvPr id="4" name="Text Placeholder 3">
            <a:extLst>
              <a:ext uri="{FF2B5EF4-FFF2-40B4-BE49-F238E27FC236}">
                <a16:creationId xmlns:a16="http://schemas.microsoft.com/office/drawing/2014/main" id="{B50C24A7-8E49-A042-9C7B-3FD9ABE224DB}"/>
              </a:ext>
            </a:extLst>
          </p:cNvPr>
          <p:cNvSpPr>
            <a:spLocks noGrp="1"/>
          </p:cNvSpPr>
          <p:nvPr>
            <p:ph type="body" idx="10"/>
          </p:nvPr>
        </p:nvSpPr>
        <p:spPr>
          <a:xfrm>
            <a:off x="1143001" y="2431792"/>
            <a:ext cx="2412520" cy="1415772"/>
          </a:xfrm>
        </p:spPr>
        <p:txBody>
          <a:bodyPr/>
          <a:lstStyle/>
          <a:p>
            <a:r>
              <a:rPr lang="en-US"/>
              <a:t>02.</a:t>
            </a:r>
          </a:p>
        </p:txBody>
      </p:sp>
    </p:spTree>
    <p:extLst>
      <p:ext uri="{BB962C8B-B14F-4D97-AF65-F5344CB8AC3E}">
        <p14:creationId xmlns:p14="http://schemas.microsoft.com/office/powerpoint/2010/main" val="11469070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6C0A5420-01E8-45C7-B251-FDBA7C45CD40}"/>
              </a:ext>
            </a:extLst>
          </p:cNvPr>
          <p:cNvSpPr/>
          <p:nvPr/>
        </p:nvSpPr>
        <p:spPr>
          <a:xfrm>
            <a:off x="8655230" y="1291385"/>
            <a:ext cx="1342696" cy="4518887"/>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 tIns="36000" rIns="18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srgbClr val="FFFFFF"/>
              </a:solidFill>
              <a:effectLst/>
              <a:uLnTx/>
              <a:uFillTx/>
              <a:latin typeface="Graphik"/>
              <a:ea typeface="+mn-ea"/>
              <a:cs typeface="Arial" panose="020B0604020202020204" pitchFamily="34" charset="0"/>
            </a:endParaRPr>
          </a:p>
        </p:txBody>
      </p:sp>
      <p:sp>
        <p:nvSpPr>
          <p:cNvPr id="173" name="TextBox 172">
            <a:extLst>
              <a:ext uri="{FF2B5EF4-FFF2-40B4-BE49-F238E27FC236}">
                <a16:creationId xmlns:a16="http://schemas.microsoft.com/office/drawing/2014/main" id="{828176CC-CA56-4A2C-A4A2-74D70F944F48}"/>
              </a:ext>
            </a:extLst>
          </p:cNvPr>
          <p:cNvSpPr txBox="1"/>
          <p:nvPr/>
        </p:nvSpPr>
        <p:spPr>
          <a:xfrm>
            <a:off x="8585829" y="1302444"/>
            <a:ext cx="143802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Security, Risk &amp; Compliance</a:t>
            </a:r>
          </a:p>
        </p:txBody>
      </p:sp>
      <p:grpSp>
        <p:nvGrpSpPr>
          <p:cNvPr id="13" name="Group 12">
            <a:extLst>
              <a:ext uri="{FF2B5EF4-FFF2-40B4-BE49-F238E27FC236}">
                <a16:creationId xmlns:a16="http://schemas.microsoft.com/office/drawing/2014/main" id="{A34C1851-30FE-4DC4-9BA6-5894AA4A4017}"/>
              </a:ext>
            </a:extLst>
          </p:cNvPr>
          <p:cNvGrpSpPr/>
          <p:nvPr/>
        </p:nvGrpSpPr>
        <p:grpSpPr>
          <a:xfrm>
            <a:off x="1820815" y="4059947"/>
            <a:ext cx="6765857" cy="827828"/>
            <a:chOff x="1501837" y="4059947"/>
            <a:chExt cx="6765857" cy="827828"/>
          </a:xfrm>
        </p:grpSpPr>
        <p:sp>
          <p:nvSpPr>
            <p:cNvPr id="235" name="Rectangle 234">
              <a:extLst>
                <a:ext uri="{FF2B5EF4-FFF2-40B4-BE49-F238E27FC236}">
                  <a16:creationId xmlns:a16="http://schemas.microsoft.com/office/drawing/2014/main" id="{8A9BBD32-2799-434C-B487-648A507DFAA7}"/>
                </a:ext>
              </a:extLst>
            </p:cNvPr>
            <p:cNvSpPr/>
            <p:nvPr/>
          </p:nvSpPr>
          <p:spPr>
            <a:xfrm>
              <a:off x="1675063" y="4059947"/>
              <a:ext cx="6592631" cy="827828"/>
            </a:xfrm>
            <a:prstGeom prst="rect">
              <a:avLst/>
            </a:prstGeom>
            <a:solidFill>
              <a:schemeClr val="accent6"/>
            </a:solidFill>
            <a:ln w="3175" algn="ctr">
              <a:noFill/>
              <a:prstDash val="solid"/>
              <a:round/>
              <a:headEnd/>
              <a:tailEnd/>
            </a:ln>
            <a:effectLst/>
          </p:spPr>
          <p:txBody>
            <a:bodyPr vert="horz" lIns="72000" tIns="54000" rIns="72000" bIns="3600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srgbClr val="FFFFFF"/>
                </a:solidFill>
                <a:effectLst/>
                <a:uLnTx/>
                <a:uFillTx/>
                <a:latin typeface="Graphik"/>
                <a:ea typeface="+mn-ea"/>
                <a:cs typeface="Arial" panose="020B0604020202020204" pitchFamily="34" charset="0"/>
              </a:endParaRPr>
            </a:p>
          </p:txBody>
        </p:sp>
        <p:sp>
          <p:nvSpPr>
            <p:cNvPr id="236" name="TextBox 235">
              <a:extLst>
                <a:ext uri="{FF2B5EF4-FFF2-40B4-BE49-F238E27FC236}">
                  <a16:creationId xmlns:a16="http://schemas.microsoft.com/office/drawing/2014/main" id="{3B3A2D9A-5E99-4356-B2A9-5450CC1B346B}"/>
                </a:ext>
              </a:extLst>
            </p:cNvPr>
            <p:cNvSpPr txBox="1"/>
            <p:nvPr/>
          </p:nvSpPr>
          <p:spPr>
            <a:xfrm>
              <a:off x="1761236" y="4164256"/>
              <a:ext cx="113198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panose="020B0503030202060203" pitchFamily="34" charset="0"/>
                  <a:ea typeface="+mn-ea"/>
                  <a:cs typeface="+mn-cs"/>
                </a:rPr>
                <a:t>Cloud Data </a:t>
              </a:r>
            </a:p>
          </p:txBody>
        </p:sp>
        <p:sp>
          <p:nvSpPr>
            <p:cNvPr id="237" name="Flowchart: Connector 236">
              <a:extLst>
                <a:ext uri="{FF2B5EF4-FFF2-40B4-BE49-F238E27FC236}">
                  <a16:creationId xmlns:a16="http://schemas.microsoft.com/office/drawing/2014/main" id="{C5497DF1-D696-4DC6-915E-9129F32B1F4A}"/>
                </a:ext>
                <a:ext uri="{C183D7F6-B498-43B3-948B-1728B52AA6E4}">
                  <adec:decorative xmlns:adec="http://schemas.microsoft.com/office/drawing/2017/decorative" val="0"/>
                </a:ext>
              </a:extLst>
            </p:cNvPr>
            <p:cNvSpPr/>
            <p:nvPr/>
          </p:nvSpPr>
          <p:spPr>
            <a:xfrm>
              <a:off x="1501837" y="4165826"/>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4</a:t>
              </a:r>
            </a:p>
          </p:txBody>
        </p:sp>
      </p:grpSp>
      <p:grpSp>
        <p:nvGrpSpPr>
          <p:cNvPr id="14" name="Group 13">
            <a:extLst>
              <a:ext uri="{FF2B5EF4-FFF2-40B4-BE49-F238E27FC236}">
                <a16:creationId xmlns:a16="http://schemas.microsoft.com/office/drawing/2014/main" id="{6F01A2AE-F2A5-41E6-B5F9-57C2A538FC0D}"/>
              </a:ext>
            </a:extLst>
          </p:cNvPr>
          <p:cNvGrpSpPr/>
          <p:nvPr/>
        </p:nvGrpSpPr>
        <p:grpSpPr>
          <a:xfrm>
            <a:off x="1820815" y="3143454"/>
            <a:ext cx="6761026" cy="827828"/>
            <a:chOff x="1501837" y="3143454"/>
            <a:chExt cx="6761026" cy="827828"/>
          </a:xfrm>
        </p:grpSpPr>
        <p:sp>
          <p:nvSpPr>
            <p:cNvPr id="4" name="Rectangle 3">
              <a:extLst>
                <a:ext uri="{FF2B5EF4-FFF2-40B4-BE49-F238E27FC236}">
                  <a16:creationId xmlns:a16="http://schemas.microsoft.com/office/drawing/2014/main" id="{2E0A5F5B-080D-4865-9ACB-407F79174F6C}"/>
                </a:ext>
              </a:extLst>
            </p:cNvPr>
            <p:cNvSpPr/>
            <p:nvPr/>
          </p:nvSpPr>
          <p:spPr>
            <a:xfrm>
              <a:off x="1675064" y="3143454"/>
              <a:ext cx="6587799" cy="827828"/>
            </a:xfrm>
            <a:prstGeom prst="rect">
              <a:avLst/>
            </a:prstGeom>
            <a:solidFill>
              <a:schemeClr val="accent4"/>
            </a:solidFill>
            <a:ln w="3175" algn="ctr">
              <a:noFill/>
              <a:prstDash val="solid"/>
              <a:round/>
              <a:headEnd/>
              <a:tailEnd/>
            </a:ln>
            <a:effectLst/>
          </p:spPr>
          <p:txBody>
            <a:bodyPr vert="horz" lIns="72000" tIns="54000" rIns="72000" bIns="3600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srgbClr val="FFFFFF"/>
                </a:solidFill>
                <a:effectLst/>
                <a:uLnTx/>
                <a:uFillTx/>
                <a:latin typeface="Graphik"/>
                <a:ea typeface="+mn-ea"/>
                <a:cs typeface="Arial" panose="020B0604020202020204" pitchFamily="34" charset="0"/>
              </a:endParaRPr>
            </a:p>
          </p:txBody>
        </p:sp>
        <p:sp>
          <p:nvSpPr>
            <p:cNvPr id="136" name="TextBox 135">
              <a:extLst>
                <a:ext uri="{FF2B5EF4-FFF2-40B4-BE49-F238E27FC236}">
                  <a16:creationId xmlns:a16="http://schemas.microsoft.com/office/drawing/2014/main" id="{2D3AA2DE-029D-4527-AFCB-C871C594222F}"/>
                </a:ext>
              </a:extLst>
            </p:cNvPr>
            <p:cNvSpPr txBox="1"/>
            <p:nvPr/>
          </p:nvSpPr>
          <p:spPr>
            <a:xfrm>
              <a:off x="1618548" y="3165573"/>
              <a:ext cx="1795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panose="020B0503030202060203" pitchFamily="34" charset="0"/>
                  <a:ea typeface="+mn-ea"/>
                  <a:cs typeface="+mn-cs"/>
                </a:rPr>
                <a:t>Cloud Technology</a:t>
              </a:r>
            </a:p>
          </p:txBody>
        </p:sp>
        <p:sp>
          <p:nvSpPr>
            <p:cNvPr id="156" name="Flowchart: Connector 155">
              <a:extLst>
                <a:ext uri="{FF2B5EF4-FFF2-40B4-BE49-F238E27FC236}">
                  <a16:creationId xmlns:a16="http://schemas.microsoft.com/office/drawing/2014/main" id="{2E5D5532-EC2A-45E8-83B7-B35F9E21B751}"/>
                </a:ext>
                <a:ext uri="{C183D7F6-B498-43B3-948B-1728B52AA6E4}">
                  <adec:decorative xmlns:adec="http://schemas.microsoft.com/office/drawing/2017/decorative" val="0"/>
                </a:ext>
              </a:extLst>
            </p:cNvPr>
            <p:cNvSpPr/>
            <p:nvPr/>
          </p:nvSpPr>
          <p:spPr>
            <a:xfrm>
              <a:off x="1501837" y="3157296"/>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3</a:t>
              </a:r>
            </a:p>
          </p:txBody>
        </p:sp>
      </p:grpSp>
      <p:grpSp>
        <p:nvGrpSpPr>
          <p:cNvPr id="15" name="Group 14">
            <a:extLst>
              <a:ext uri="{FF2B5EF4-FFF2-40B4-BE49-F238E27FC236}">
                <a16:creationId xmlns:a16="http://schemas.microsoft.com/office/drawing/2014/main" id="{D1D7C3A8-1E18-493A-B3ED-7B3BF7242B2D}"/>
              </a:ext>
            </a:extLst>
          </p:cNvPr>
          <p:cNvGrpSpPr/>
          <p:nvPr/>
        </p:nvGrpSpPr>
        <p:grpSpPr>
          <a:xfrm>
            <a:off x="1820815" y="2134114"/>
            <a:ext cx="6762637" cy="921592"/>
            <a:chOff x="1501837" y="2134114"/>
            <a:chExt cx="6762637" cy="921592"/>
          </a:xfrm>
        </p:grpSpPr>
        <p:sp>
          <p:nvSpPr>
            <p:cNvPr id="283" name="Rectangle 282">
              <a:extLst>
                <a:ext uri="{FF2B5EF4-FFF2-40B4-BE49-F238E27FC236}">
                  <a16:creationId xmlns:a16="http://schemas.microsoft.com/office/drawing/2014/main" id="{D0C424FD-6529-41AD-AA69-A663B1662DBB}"/>
                </a:ext>
              </a:extLst>
            </p:cNvPr>
            <p:cNvSpPr/>
            <p:nvPr/>
          </p:nvSpPr>
          <p:spPr>
            <a:xfrm>
              <a:off x="1675064" y="2227878"/>
              <a:ext cx="6589410" cy="82782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 tIns="36000" rIns="18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srgbClr val="FFFFFF"/>
                </a:solidFill>
                <a:effectLst/>
                <a:uLnTx/>
                <a:uFillTx/>
                <a:latin typeface="Graphik"/>
                <a:ea typeface="+mn-ea"/>
                <a:cs typeface="Arial" panose="020B0604020202020204" pitchFamily="34" charset="0"/>
              </a:endParaRPr>
            </a:p>
          </p:txBody>
        </p:sp>
        <p:sp>
          <p:nvSpPr>
            <p:cNvPr id="284" name="TextBox 283">
              <a:extLst>
                <a:ext uri="{FF2B5EF4-FFF2-40B4-BE49-F238E27FC236}">
                  <a16:creationId xmlns:a16="http://schemas.microsoft.com/office/drawing/2014/main" id="{8545D3FB-966F-43CB-A873-B5CF8A94F6DC}"/>
                </a:ext>
              </a:extLst>
            </p:cNvPr>
            <p:cNvSpPr txBox="1"/>
            <p:nvPr/>
          </p:nvSpPr>
          <p:spPr>
            <a:xfrm>
              <a:off x="1896833" y="2229628"/>
              <a:ext cx="14922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panose="020B0503030202060203" pitchFamily="34" charset="0"/>
                  <a:ea typeface="+mn-ea"/>
                  <a:cs typeface="+mn-cs"/>
                </a:rPr>
                <a:t>Cloud Management </a:t>
              </a:r>
            </a:p>
          </p:txBody>
        </p:sp>
        <p:sp>
          <p:nvSpPr>
            <p:cNvPr id="285" name="Flowchart: Connector 284">
              <a:extLst>
                <a:ext uri="{FF2B5EF4-FFF2-40B4-BE49-F238E27FC236}">
                  <a16:creationId xmlns:a16="http://schemas.microsoft.com/office/drawing/2014/main" id="{BA2A7481-CCDF-491E-B5CC-C5F0EF64E805}"/>
                </a:ext>
                <a:ext uri="{C183D7F6-B498-43B3-948B-1728B52AA6E4}">
                  <adec:decorative xmlns:adec="http://schemas.microsoft.com/office/drawing/2017/decorative" val="0"/>
                </a:ext>
              </a:extLst>
            </p:cNvPr>
            <p:cNvSpPr/>
            <p:nvPr/>
          </p:nvSpPr>
          <p:spPr>
            <a:xfrm>
              <a:off x="1501837" y="2134114"/>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1</a:t>
              </a:r>
            </a:p>
          </p:txBody>
        </p:sp>
      </p:grpSp>
      <p:grpSp>
        <p:nvGrpSpPr>
          <p:cNvPr id="11" name="Group 10">
            <a:extLst>
              <a:ext uri="{FF2B5EF4-FFF2-40B4-BE49-F238E27FC236}">
                <a16:creationId xmlns:a16="http://schemas.microsoft.com/office/drawing/2014/main" id="{8C06792E-21ED-41A2-84BC-78E67FF982E0}"/>
              </a:ext>
            </a:extLst>
          </p:cNvPr>
          <p:cNvGrpSpPr/>
          <p:nvPr/>
        </p:nvGrpSpPr>
        <p:grpSpPr>
          <a:xfrm>
            <a:off x="1820815" y="1291386"/>
            <a:ext cx="6761027" cy="848744"/>
            <a:chOff x="1501837" y="1291386"/>
            <a:chExt cx="6761027" cy="848744"/>
          </a:xfrm>
        </p:grpSpPr>
        <p:sp>
          <p:nvSpPr>
            <p:cNvPr id="212" name="Rectangle 211">
              <a:extLst>
                <a:ext uri="{FF2B5EF4-FFF2-40B4-BE49-F238E27FC236}">
                  <a16:creationId xmlns:a16="http://schemas.microsoft.com/office/drawing/2014/main" id="{922A745E-7704-4DA9-B522-04002855C37E}"/>
                </a:ext>
              </a:extLst>
            </p:cNvPr>
            <p:cNvSpPr/>
            <p:nvPr/>
          </p:nvSpPr>
          <p:spPr>
            <a:xfrm>
              <a:off x="1675066" y="1304056"/>
              <a:ext cx="6587798" cy="836074"/>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 tIns="36000" rIns="18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srgbClr val="FFFFFF"/>
                </a:solidFill>
                <a:effectLst/>
                <a:uLnTx/>
                <a:uFillTx/>
                <a:latin typeface="Graphik"/>
                <a:ea typeface="+mn-ea"/>
                <a:cs typeface="Arial" panose="020B0604020202020204" pitchFamily="34" charset="0"/>
              </a:endParaRPr>
            </a:p>
          </p:txBody>
        </p:sp>
        <p:sp>
          <p:nvSpPr>
            <p:cNvPr id="188" name="TextBox 187">
              <a:extLst>
                <a:ext uri="{FF2B5EF4-FFF2-40B4-BE49-F238E27FC236}">
                  <a16:creationId xmlns:a16="http://schemas.microsoft.com/office/drawing/2014/main" id="{2C1FA8F6-98E1-4F66-9D92-B71160A7A046}"/>
                </a:ext>
              </a:extLst>
            </p:cNvPr>
            <p:cNvSpPr txBox="1"/>
            <p:nvPr/>
          </p:nvSpPr>
          <p:spPr>
            <a:xfrm>
              <a:off x="1716336" y="1307009"/>
              <a:ext cx="33543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Graphik" panose="020B0503030202060203" pitchFamily="34" charset="0"/>
                  <a:ea typeface="+mn-ea"/>
                  <a:cs typeface="+mn-cs"/>
                </a:rPr>
                <a:t>Cloud Organization &amp; Operating Model  Enablers</a:t>
              </a:r>
            </a:p>
          </p:txBody>
        </p:sp>
        <p:sp>
          <p:nvSpPr>
            <p:cNvPr id="194" name="Flowchart: Connector 193">
              <a:extLst>
                <a:ext uri="{FF2B5EF4-FFF2-40B4-BE49-F238E27FC236}">
                  <a16:creationId xmlns:a16="http://schemas.microsoft.com/office/drawing/2014/main" id="{02D2AC4E-422B-4944-AB44-8AEDA7D07548}"/>
                </a:ext>
                <a:ext uri="{C183D7F6-B498-43B3-948B-1728B52AA6E4}">
                  <adec:decorative xmlns:adec="http://schemas.microsoft.com/office/drawing/2017/decorative" val="0"/>
                </a:ext>
              </a:extLst>
            </p:cNvPr>
            <p:cNvSpPr/>
            <p:nvPr/>
          </p:nvSpPr>
          <p:spPr>
            <a:xfrm>
              <a:off x="1501837" y="1291386"/>
              <a:ext cx="270100"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0</a:t>
              </a:r>
            </a:p>
          </p:txBody>
        </p:sp>
      </p:grpSp>
      <p:grpSp>
        <p:nvGrpSpPr>
          <p:cNvPr id="12" name="Group 11">
            <a:extLst>
              <a:ext uri="{FF2B5EF4-FFF2-40B4-BE49-F238E27FC236}">
                <a16:creationId xmlns:a16="http://schemas.microsoft.com/office/drawing/2014/main" id="{4432851C-2404-4259-AFBF-9E3F9F618005}"/>
              </a:ext>
            </a:extLst>
          </p:cNvPr>
          <p:cNvGrpSpPr/>
          <p:nvPr/>
        </p:nvGrpSpPr>
        <p:grpSpPr>
          <a:xfrm>
            <a:off x="1820815" y="4982445"/>
            <a:ext cx="6765859" cy="827827"/>
            <a:chOff x="1501837" y="4982445"/>
            <a:chExt cx="6765859" cy="827827"/>
          </a:xfrm>
        </p:grpSpPr>
        <p:sp>
          <p:nvSpPr>
            <p:cNvPr id="232" name="Rectangle 231">
              <a:extLst>
                <a:ext uri="{FF2B5EF4-FFF2-40B4-BE49-F238E27FC236}">
                  <a16:creationId xmlns:a16="http://schemas.microsoft.com/office/drawing/2014/main" id="{AD0382FA-0823-4B94-BB3A-F8F4A8F41CB3}"/>
                </a:ext>
              </a:extLst>
            </p:cNvPr>
            <p:cNvSpPr/>
            <p:nvPr/>
          </p:nvSpPr>
          <p:spPr>
            <a:xfrm>
              <a:off x="1675064" y="4982445"/>
              <a:ext cx="6592632" cy="8278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33" name="TextBox 232">
              <a:extLst>
                <a:ext uri="{FF2B5EF4-FFF2-40B4-BE49-F238E27FC236}">
                  <a16:creationId xmlns:a16="http://schemas.microsoft.com/office/drawing/2014/main" id="{5C2E9B3E-06BB-4B71-A55E-14EFC74DC8E9}"/>
                </a:ext>
              </a:extLst>
            </p:cNvPr>
            <p:cNvSpPr txBox="1"/>
            <p:nvPr/>
          </p:nvSpPr>
          <p:spPr>
            <a:xfrm>
              <a:off x="1595504" y="5079832"/>
              <a:ext cx="17108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Applications  </a:t>
              </a:r>
            </a:p>
          </p:txBody>
        </p:sp>
        <p:sp>
          <p:nvSpPr>
            <p:cNvPr id="234" name="Flowchart: Connector 233">
              <a:extLst>
                <a:ext uri="{FF2B5EF4-FFF2-40B4-BE49-F238E27FC236}">
                  <a16:creationId xmlns:a16="http://schemas.microsoft.com/office/drawing/2014/main" id="{3543B78E-FB2A-4096-847E-F9B0769576E0}"/>
                </a:ext>
                <a:ext uri="{C183D7F6-B498-43B3-948B-1728B52AA6E4}">
                  <adec:decorative xmlns:adec="http://schemas.microsoft.com/office/drawing/2017/decorative" val="0"/>
                </a:ext>
              </a:extLst>
            </p:cNvPr>
            <p:cNvSpPr/>
            <p:nvPr/>
          </p:nvSpPr>
          <p:spPr>
            <a:xfrm>
              <a:off x="1501837" y="5089024"/>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5</a:t>
              </a:r>
            </a:p>
          </p:txBody>
        </p:sp>
      </p:grpSp>
      <p:sp>
        <p:nvSpPr>
          <p:cNvPr id="57" name="Rectangle 61">
            <a:extLst>
              <a:ext uri="{FF2B5EF4-FFF2-40B4-BE49-F238E27FC236}">
                <a16:creationId xmlns:a16="http://schemas.microsoft.com/office/drawing/2014/main" id="{5482DE20-1240-466F-8B67-11C5734FDD5E}"/>
              </a:ext>
            </a:extLst>
          </p:cNvPr>
          <p:cNvSpPr/>
          <p:nvPr/>
        </p:nvSpPr>
        <p:spPr>
          <a:xfrm>
            <a:off x="4316819" y="1726249"/>
            <a:ext cx="5252485" cy="3875744"/>
          </a:xfrm>
          <a:prstGeom prst="rect">
            <a:avLst/>
          </a:prstGeom>
          <a:solidFill>
            <a:schemeClr val="bg1"/>
          </a:solidFill>
        </p:spPr>
        <p:txBody>
          <a:bodyPr vert="horz" wrap="square" lIns="18000" tIns="18000" rIns="18000" bIns="180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50" b="1" i="0" u="none" strike="noStrike" kern="1200" cap="none" spc="0" normalizeH="0" baseline="0" noProof="0">
              <a:ln>
                <a:noFill/>
              </a:ln>
              <a:solidFill>
                <a:srgbClr val="000000"/>
              </a:solidFill>
              <a:effectLst/>
              <a:uLnTx/>
              <a:uFillTx/>
              <a:latin typeface="Graphik"/>
              <a:ea typeface="+mn-ea"/>
              <a:cs typeface="Arial" panose="020B0604020202020204" pitchFamily="34" charset="0"/>
            </a:endParaRPr>
          </a:p>
        </p:txBody>
      </p:sp>
      <p:sp>
        <p:nvSpPr>
          <p:cNvPr id="174" name="Flowchart: Connector 173">
            <a:extLst>
              <a:ext uri="{FF2B5EF4-FFF2-40B4-BE49-F238E27FC236}">
                <a16:creationId xmlns:a16="http://schemas.microsoft.com/office/drawing/2014/main" id="{2C3A0BC1-64C5-493C-B302-CB07AE7469FE}"/>
              </a:ext>
              <a:ext uri="{C183D7F6-B498-43B3-948B-1728B52AA6E4}">
                <adec:decorative xmlns:adec="http://schemas.microsoft.com/office/drawing/2017/decorative" val="0"/>
              </a:ext>
            </a:extLst>
          </p:cNvPr>
          <p:cNvSpPr/>
          <p:nvPr/>
        </p:nvSpPr>
        <p:spPr>
          <a:xfrm>
            <a:off x="8521913" y="1221862"/>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2</a:t>
            </a:r>
          </a:p>
        </p:txBody>
      </p:sp>
      <p:graphicFrame>
        <p:nvGraphicFramePr>
          <p:cNvPr id="93" name="Table 92">
            <a:extLst>
              <a:ext uri="{FF2B5EF4-FFF2-40B4-BE49-F238E27FC236}">
                <a16:creationId xmlns:a16="http://schemas.microsoft.com/office/drawing/2014/main" id="{534A38B8-34E6-4057-A756-B88CBE6954E5}"/>
              </a:ext>
            </a:extLst>
          </p:cNvPr>
          <p:cNvGraphicFramePr>
            <a:graphicFrameLocks noGrp="1"/>
          </p:cNvGraphicFramePr>
          <p:nvPr>
            <p:extLst>
              <p:ext uri="{D42A27DB-BD31-4B8C-83A1-F6EECF244321}">
                <p14:modId xmlns:p14="http://schemas.microsoft.com/office/powerpoint/2010/main" val="3374714854"/>
              </p:ext>
            </p:extLst>
          </p:nvPr>
        </p:nvGraphicFramePr>
        <p:xfrm>
          <a:off x="5089447" y="2708094"/>
          <a:ext cx="3390900" cy="320382"/>
        </p:xfrm>
        <a:graphic>
          <a:graphicData uri="http://schemas.openxmlformats.org/drawingml/2006/table">
            <a:tbl>
              <a:tblPr firstRow="1" bandRow="1">
                <a:tableStyleId>{5C22544A-7EE6-4342-B048-85BDC9FD1C3A}</a:tableStyleId>
              </a:tblPr>
              <a:tblGrid>
                <a:gridCol w="1130300">
                  <a:extLst>
                    <a:ext uri="{9D8B030D-6E8A-4147-A177-3AD203B41FA5}">
                      <a16:colId xmlns:a16="http://schemas.microsoft.com/office/drawing/2014/main" val="1043844976"/>
                    </a:ext>
                  </a:extLst>
                </a:gridCol>
                <a:gridCol w="1130300">
                  <a:extLst>
                    <a:ext uri="{9D8B030D-6E8A-4147-A177-3AD203B41FA5}">
                      <a16:colId xmlns:a16="http://schemas.microsoft.com/office/drawing/2014/main" val="3565851984"/>
                    </a:ext>
                  </a:extLst>
                </a:gridCol>
                <a:gridCol w="1130300">
                  <a:extLst>
                    <a:ext uri="{9D8B030D-6E8A-4147-A177-3AD203B41FA5}">
                      <a16:colId xmlns:a16="http://schemas.microsoft.com/office/drawing/2014/main" val="3923551071"/>
                    </a:ext>
                  </a:extLst>
                </a:gridCol>
              </a:tblGrid>
              <a:tr h="297922">
                <a:tc>
                  <a:txBody>
                    <a:bodyPr/>
                    <a:lstStyle/>
                    <a:p>
                      <a:pPr algn="ctr"/>
                      <a:r>
                        <a:rPr lang="en-US" sz="1200" b="0">
                          <a:solidFill>
                            <a:srgbClr val="2C2C2C"/>
                          </a:solidFill>
                        </a:rPr>
                        <a:t>AWS</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rgbClr val="2C2C2C"/>
                          </a:solidFill>
                        </a:rPr>
                        <a:t>Azure</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Google</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3031373"/>
                  </a:ext>
                </a:extLst>
              </a:tr>
            </a:tbl>
          </a:graphicData>
        </a:graphic>
      </p:graphicFrame>
      <p:pic>
        <p:nvPicPr>
          <p:cNvPr id="94" name="Picture 93">
            <a:extLst>
              <a:ext uri="{FF2B5EF4-FFF2-40B4-BE49-F238E27FC236}">
                <a16:creationId xmlns:a16="http://schemas.microsoft.com/office/drawing/2014/main" id="{901D9651-57A0-4C81-8ADB-DD7B841ECBA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434867" y="2129848"/>
            <a:ext cx="660574" cy="501311"/>
          </a:xfrm>
          <a:prstGeom prst="rect">
            <a:avLst/>
          </a:prstGeom>
        </p:spPr>
      </p:pic>
      <p:pic>
        <p:nvPicPr>
          <p:cNvPr id="95" name="Picture 94">
            <a:extLst>
              <a:ext uri="{FF2B5EF4-FFF2-40B4-BE49-F238E27FC236}">
                <a16:creationId xmlns:a16="http://schemas.microsoft.com/office/drawing/2014/main" id="{6E0448E0-1CE3-4A1A-9D4C-0C6551CB40B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77467" y="2083017"/>
            <a:ext cx="663045" cy="548142"/>
          </a:xfrm>
          <a:prstGeom prst="rect">
            <a:avLst/>
          </a:prstGeom>
        </p:spPr>
      </p:pic>
      <p:pic>
        <p:nvPicPr>
          <p:cNvPr id="96" name="Picture 95">
            <a:extLst>
              <a:ext uri="{FF2B5EF4-FFF2-40B4-BE49-F238E27FC236}">
                <a16:creationId xmlns:a16="http://schemas.microsoft.com/office/drawing/2014/main" id="{0C38EA83-9759-4B75-BF5E-07AFB0234B0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640028" y="2083017"/>
            <a:ext cx="613838" cy="548142"/>
          </a:xfrm>
          <a:prstGeom prst="rect">
            <a:avLst/>
          </a:prstGeom>
        </p:spPr>
      </p:pic>
      <p:pic>
        <p:nvPicPr>
          <p:cNvPr id="97" name="Picture 4" descr="Related image">
            <a:extLst>
              <a:ext uri="{FF2B5EF4-FFF2-40B4-BE49-F238E27FC236}">
                <a16:creationId xmlns:a16="http://schemas.microsoft.com/office/drawing/2014/main" id="{3BAD0BAF-CA64-45F6-979A-CCA78AFCBA9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887510" y="3360345"/>
            <a:ext cx="720002" cy="465602"/>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Image result for ibm cloud">
            <a:extLst>
              <a:ext uri="{FF2B5EF4-FFF2-40B4-BE49-F238E27FC236}">
                <a16:creationId xmlns:a16="http://schemas.microsoft.com/office/drawing/2014/main" id="{03E6808E-9CA7-4783-952E-43A233D62A3E}"/>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7194326" y="3233001"/>
            <a:ext cx="648636" cy="59294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descr="Alibaba Cloud Logo Vector">
            <a:extLst>
              <a:ext uri="{FF2B5EF4-FFF2-40B4-BE49-F238E27FC236}">
                <a16:creationId xmlns:a16="http://schemas.microsoft.com/office/drawing/2014/main" id="{B80F4506-FB2E-4198-A08D-4A5285ABD299}"/>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t="-2458"/>
          <a:stretch/>
        </p:blipFill>
        <p:spPr bwMode="auto">
          <a:xfrm>
            <a:off x="8261231" y="3411794"/>
            <a:ext cx="737192" cy="414153"/>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0" descr="Image result for huawei cloud">
            <a:extLst>
              <a:ext uri="{FF2B5EF4-FFF2-40B4-BE49-F238E27FC236}">
                <a16:creationId xmlns:a16="http://schemas.microsoft.com/office/drawing/2014/main" id="{CF408987-51AA-4089-B668-ACAF93B4B8C5}"/>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4917098" y="4300603"/>
            <a:ext cx="645591" cy="55219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descr="Image result for tencent cloud">
            <a:extLst>
              <a:ext uri="{FF2B5EF4-FFF2-40B4-BE49-F238E27FC236}">
                <a16:creationId xmlns:a16="http://schemas.microsoft.com/office/drawing/2014/main" id="{EC5D10B4-0103-47B6-A1F7-E8D9F18E7C1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075985" y="4269888"/>
            <a:ext cx="612092" cy="61209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descr="Image result for open stack cloud">
            <a:extLst>
              <a:ext uri="{FF2B5EF4-FFF2-40B4-BE49-F238E27FC236}">
                <a16:creationId xmlns:a16="http://schemas.microsoft.com/office/drawing/2014/main" id="{FD517E21-461A-4700-89AE-1C4C7B37803F}"/>
              </a:ext>
            </a:extLst>
          </p:cNvPr>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7174731" y="4344897"/>
            <a:ext cx="625797" cy="50789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6" descr="Related image">
            <a:extLst>
              <a:ext uri="{FF2B5EF4-FFF2-40B4-BE49-F238E27FC236}">
                <a16:creationId xmlns:a16="http://schemas.microsoft.com/office/drawing/2014/main" id="{2E461EF8-310F-4A2F-AB4C-4D6CF1997B3A}"/>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8231004" y="4392966"/>
            <a:ext cx="749127" cy="45983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descr="Image result for sap cloud platform">
            <a:extLst>
              <a:ext uri="{FF2B5EF4-FFF2-40B4-BE49-F238E27FC236}">
                <a16:creationId xmlns:a16="http://schemas.microsoft.com/office/drawing/2014/main" id="{5BD29426-FBEB-4DAB-AF11-D2501BC8B3ED}"/>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001222" y="3121575"/>
            <a:ext cx="983970" cy="98397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5" name="Table 104">
            <a:extLst>
              <a:ext uri="{FF2B5EF4-FFF2-40B4-BE49-F238E27FC236}">
                <a16:creationId xmlns:a16="http://schemas.microsoft.com/office/drawing/2014/main" id="{9345318F-C54A-4F34-8E49-E038E7C1D27C}"/>
              </a:ext>
            </a:extLst>
          </p:cNvPr>
          <p:cNvGraphicFramePr>
            <a:graphicFrameLocks noGrp="1"/>
          </p:cNvGraphicFramePr>
          <p:nvPr>
            <p:extLst>
              <p:ext uri="{D42A27DB-BD31-4B8C-83A1-F6EECF244321}">
                <p14:modId xmlns:p14="http://schemas.microsoft.com/office/powerpoint/2010/main" val="1858629744"/>
              </p:ext>
            </p:extLst>
          </p:nvPr>
        </p:nvGraphicFramePr>
        <p:xfrm>
          <a:off x="4670873" y="4885201"/>
          <a:ext cx="4521200" cy="320382"/>
        </p:xfrm>
        <a:graphic>
          <a:graphicData uri="http://schemas.openxmlformats.org/drawingml/2006/table">
            <a:tbl>
              <a:tblPr firstRow="1" bandRow="1">
                <a:tableStyleId>{5C22544A-7EE6-4342-B048-85BDC9FD1C3A}</a:tableStyleId>
              </a:tblPr>
              <a:tblGrid>
                <a:gridCol w="1130300">
                  <a:extLst>
                    <a:ext uri="{9D8B030D-6E8A-4147-A177-3AD203B41FA5}">
                      <a16:colId xmlns:a16="http://schemas.microsoft.com/office/drawing/2014/main" val="3454601292"/>
                    </a:ext>
                  </a:extLst>
                </a:gridCol>
                <a:gridCol w="1130300">
                  <a:extLst>
                    <a:ext uri="{9D8B030D-6E8A-4147-A177-3AD203B41FA5}">
                      <a16:colId xmlns:a16="http://schemas.microsoft.com/office/drawing/2014/main" val="4020468509"/>
                    </a:ext>
                  </a:extLst>
                </a:gridCol>
                <a:gridCol w="1130300">
                  <a:extLst>
                    <a:ext uri="{9D8B030D-6E8A-4147-A177-3AD203B41FA5}">
                      <a16:colId xmlns:a16="http://schemas.microsoft.com/office/drawing/2014/main" val="457814226"/>
                    </a:ext>
                  </a:extLst>
                </a:gridCol>
                <a:gridCol w="1130300">
                  <a:extLst>
                    <a:ext uri="{9D8B030D-6E8A-4147-A177-3AD203B41FA5}">
                      <a16:colId xmlns:a16="http://schemas.microsoft.com/office/drawing/2014/main" val="413670658"/>
                    </a:ext>
                  </a:extLst>
                </a:gridCol>
              </a:tblGrid>
              <a:tr h="297922">
                <a:tc>
                  <a:txBody>
                    <a:bodyPr/>
                    <a:lstStyle/>
                    <a:p>
                      <a:pPr algn="ctr"/>
                      <a:r>
                        <a:rPr lang="en-US" sz="1200" b="0">
                          <a:solidFill>
                            <a:schemeClr val="tx2">
                              <a:lumMod val="50000"/>
                            </a:schemeClr>
                          </a:solidFill>
                        </a:rPr>
                        <a:t>Huawei</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Tencent</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OpenStack</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VMWare</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5178342"/>
                  </a:ext>
                </a:extLst>
              </a:tr>
            </a:tbl>
          </a:graphicData>
        </a:graphic>
      </p:graphicFrame>
      <p:graphicFrame>
        <p:nvGraphicFramePr>
          <p:cNvPr id="106" name="Table 105">
            <a:extLst>
              <a:ext uri="{FF2B5EF4-FFF2-40B4-BE49-F238E27FC236}">
                <a16:creationId xmlns:a16="http://schemas.microsoft.com/office/drawing/2014/main" id="{FDF94E86-BD79-4A80-B375-2F7C6759DF8D}"/>
              </a:ext>
            </a:extLst>
          </p:cNvPr>
          <p:cNvGraphicFramePr>
            <a:graphicFrameLocks noGrp="1"/>
          </p:cNvGraphicFramePr>
          <p:nvPr>
            <p:extLst>
              <p:ext uri="{D42A27DB-BD31-4B8C-83A1-F6EECF244321}">
                <p14:modId xmlns:p14="http://schemas.microsoft.com/office/powerpoint/2010/main" val="2701840638"/>
              </p:ext>
            </p:extLst>
          </p:nvPr>
        </p:nvGraphicFramePr>
        <p:xfrm>
          <a:off x="4682225" y="3832274"/>
          <a:ext cx="4521200" cy="320382"/>
        </p:xfrm>
        <a:graphic>
          <a:graphicData uri="http://schemas.openxmlformats.org/drawingml/2006/table">
            <a:tbl>
              <a:tblPr firstRow="1" bandRow="1">
                <a:tableStyleId>{5C22544A-7EE6-4342-B048-85BDC9FD1C3A}</a:tableStyleId>
              </a:tblPr>
              <a:tblGrid>
                <a:gridCol w="1130300">
                  <a:extLst>
                    <a:ext uri="{9D8B030D-6E8A-4147-A177-3AD203B41FA5}">
                      <a16:colId xmlns:a16="http://schemas.microsoft.com/office/drawing/2014/main" val="3454601292"/>
                    </a:ext>
                  </a:extLst>
                </a:gridCol>
                <a:gridCol w="1130300">
                  <a:extLst>
                    <a:ext uri="{9D8B030D-6E8A-4147-A177-3AD203B41FA5}">
                      <a16:colId xmlns:a16="http://schemas.microsoft.com/office/drawing/2014/main" val="4020468509"/>
                    </a:ext>
                  </a:extLst>
                </a:gridCol>
                <a:gridCol w="1130300">
                  <a:extLst>
                    <a:ext uri="{9D8B030D-6E8A-4147-A177-3AD203B41FA5}">
                      <a16:colId xmlns:a16="http://schemas.microsoft.com/office/drawing/2014/main" val="457814226"/>
                    </a:ext>
                  </a:extLst>
                </a:gridCol>
                <a:gridCol w="1130300">
                  <a:extLst>
                    <a:ext uri="{9D8B030D-6E8A-4147-A177-3AD203B41FA5}">
                      <a16:colId xmlns:a16="http://schemas.microsoft.com/office/drawing/2014/main" val="413670658"/>
                    </a:ext>
                  </a:extLst>
                </a:gridCol>
              </a:tblGrid>
              <a:tr h="297922">
                <a:tc>
                  <a:txBody>
                    <a:bodyPr/>
                    <a:lstStyle/>
                    <a:p>
                      <a:pPr algn="ctr"/>
                      <a:r>
                        <a:rPr lang="en-US" sz="1200" b="0">
                          <a:solidFill>
                            <a:schemeClr val="tx2">
                              <a:lumMod val="50000"/>
                            </a:schemeClr>
                          </a:solidFill>
                        </a:rPr>
                        <a:t>Oracle</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SAP</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IBM</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2">
                              <a:lumMod val="50000"/>
                            </a:schemeClr>
                          </a:solidFill>
                        </a:rPr>
                        <a:t>Alibaba</a:t>
                      </a:r>
                    </a:p>
                  </a:txBody>
                  <a:tcPr marL="137502" marR="137502" marT="68751" marB="6875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5178342"/>
                  </a:ext>
                </a:extLst>
              </a:tr>
            </a:tbl>
          </a:graphicData>
        </a:graphic>
      </p:graphicFrame>
      <p:sp>
        <p:nvSpPr>
          <p:cNvPr id="112" name="Title 15">
            <a:extLst>
              <a:ext uri="{FF2B5EF4-FFF2-40B4-BE49-F238E27FC236}">
                <a16:creationId xmlns:a16="http://schemas.microsoft.com/office/drawing/2014/main" id="{2CD1918E-1AD4-4FA4-BCE9-153E0092CB3B}"/>
              </a:ext>
            </a:extLst>
          </p:cNvPr>
          <p:cNvSpPr txBox="1">
            <a:spLocks/>
          </p:cNvSpPr>
          <p:nvPr/>
        </p:nvSpPr>
        <p:spPr>
          <a:xfrm>
            <a:off x="381000" y="416165"/>
            <a:ext cx="11429999" cy="527721"/>
          </a:xfrm>
          <a:prstGeom prst="rect">
            <a:avLst/>
          </a:prstGeom>
        </p:spPr>
        <p:txBody>
          <a:bodyPr vert="horz" lIns="0" tIns="0" rIns="0" bIns="0" rtlCol="0" anchor="t">
            <a:normAutofit/>
          </a:bodyPr>
          <a:lstStyle>
            <a:lvl1pPr algn="l" defTabSz="914400" rtl="0" eaLnBrk="1" latinLnBrk="0" hangingPunct="1">
              <a:lnSpc>
                <a:spcPct val="80000"/>
              </a:lnSpc>
              <a:spcBef>
                <a:spcPct val="0"/>
              </a:spcBef>
              <a:buNone/>
              <a:defRPr sz="2800" b="1" kern="1200">
                <a:solidFill>
                  <a:schemeClr val="accent3"/>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800" b="1" i="0" u="none" strike="noStrike" kern="1200" cap="none" spc="0" normalizeH="0" baseline="0" noProof="0">
                <a:ln>
                  <a:noFill/>
                </a:ln>
                <a:solidFill>
                  <a:srgbClr val="460073"/>
                </a:solidFill>
                <a:effectLst/>
                <a:uLnTx/>
                <a:uFillTx/>
                <a:latin typeface="Graphik"/>
                <a:ea typeface="+mj-ea"/>
                <a:cs typeface="+mj-cs"/>
              </a:rPr>
              <a:t>Market Leading Software and Platforms</a:t>
            </a:r>
            <a:endParaRPr kumimoji="0" lang="en-GB" sz="2800" b="1" i="0" u="none" strike="noStrike" kern="1200" cap="none" spc="0" normalizeH="0" baseline="0" noProof="0">
              <a:ln>
                <a:noFill/>
              </a:ln>
              <a:solidFill>
                <a:srgbClr val="460073"/>
              </a:solidFill>
              <a:effectLst/>
              <a:uLnTx/>
              <a:uFillTx/>
              <a:latin typeface="Graphik"/>
              <a:ea typeface="+mj-ea"/>
              <a:cs typeface="+mj-cs"/>
            </a:endParaRPr>
          </a:p>
        </p:txBody>
      </p:sp>
      <p:sp>
        <p:nvSpPr>
          <p:cNvPr id="16" name="TextBox 15">
            <a:extLst>
              <a:ext uri="{FF2B5EF4-FFF2-40B4-BE49-F238E27FC236}">
                <a16:creationId xmlns:a16="http://schemas.microsoft.com/office/drawing/2014/main" id="{8C48474D-7B09-4612-856F-745AA9A28853}"/>
              </a:ext>
            </a:extLst>
          </p:cNvPr>
          <p:cNvSpPr txBox="1"/>
          <p:nvPr/>
        </p:nvSpPr>
        <p:spPr>
          <a:xfrm>
            <a:off x="1914482" y="6039293"/>
            <a:ext cx="8109373" cy="220674"/>
          </a:xfrm>
          <a:prstGeom prst="rect">
            <a:avLst/>
          </a:prstGeom>
          <a:noFill/>
        </p:spPr>
        <p:txBody>
          <a:bodyPr wrap="square" lIns="0" tIns="0" rIns="0" bIns="0" rtlCol="0">
            <a:noAutofit/>
          </a:bodyPr>
          <a:lstStyle/>
          <a:p>
            <a:pPr algn="l" defTabSz="228600">
              <a:spcAft>
                <a:spcPts val="1200"/>
              </a:spcAft>
            </a:pPr>
            <a:r>
              <a:rPr lang="en-US" sz="1400" noProof="0"/>
              <a:t>For more details, please refer the </a:t>
            </a:r>
            <a:r>
              <a:rPr lang="en-US" sz="1400" noProof="0">
                <a:hlinkClick r:id="rId14"/>
              </a:rPr>
              <a:t>Cloud Services Canvas</a:t>
            </a:r>
            <a:endParaRPr lang="en-US" sz="1400" noProof="0"/>
          </a:p>
        </p:txBody>
      </p:sp>
    </p:spTree>
    <p:extLst>
      <p:ext uri="{BB962C8B-B14F-4D97-AF65-F5344CB8AC3E}">
        <p14:creationId xmlns:p14="http://schemas.microsoft.com/office/powerpoint/2010/main" val="396023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316928-9C49-45AF-ABD0-0E206F4B6BB5}"/>
              </a:ext>
            </a:extLst>
          </p:cNvPr>
          <p:cNvSpPr>
            <a:spLocks noGrp="1"/>
          </p:cNvSpPr>
          <p:nvPr>
            <p:ph type="body" sz="quarter" idx="10"/>
          </p:nvPr>
        </p:nvSpPr>
        <p:spPr>
          <a:xfrm>
            <a:off x="380998" y="1376363"/>
            <a:ext cx="11430000" cy="4321183"/>
          </a:xfrm>
        </p:spPr>
        <p:txBody>
          <a:bodyPr/>
          <a:lstStyle/>
          <a:p>
            <a:pPr lvl="0" algn="just" defTabSz="457200">
              <a:spcBef>
                <a:spcPct val="20000"/>
              </a:spcBef>
              <a:spcAft>
                <a:spcPts val="0"/>
              </a:spcAft>
              <a:buClr>
                <a:srgbClr val="632163"/>
              </a:buClr>
              <a:defRPr/>
            </a:pPr>
            <a:r>
              <a:rPr lang="en-GB" b="0" dirty="0">
                <a:solidFill>
                  <a:srgbClr val="404040"/>
                </a:solidFill>
                <a:cs typeface="Calibri"/>
              </a:rPr>
              <a:t>Accenture is a leading global professional services company, providing a broad range of services and solutions in strategy, consulting, digital, technology and operations. Combining unmatched experience and specialized skills across more </a:t>
            </a:r>
            <a:r>
              <a:rPr lang="en-GB" dirty="0">
                <a:solidFill>
                  <a:srgbClr val="404040"/>
                </a:solidFill>
                <a:cs typeface="Calibri"/>
              </a:rPr>
              <a:t>than 19 industries and all business functions—underpinned by the world’s largest delivery network—Accenture works at the intersection </a:t>
            </a:r>
            <a:r>
              <a:rPr lang="en-GB" b="0" dirty="0">
                <a:solidFill>
                  <a:srgbClr val="404040"/>
                </a:solidFill>
                <a:cs typeface="Calibri"/>
              </a:rPr>
              <a:t>of business and technology to help clients improve their performance and create sustainable value for their stakeholders. With approximately </a:t>
            </a:r>
            <a:r>
              <a:rPr lang="en-GB" dirty="0">
                <a:solidFill>
                  <a:srgbClr val="404040"/>
                </a:solidFill>
                <a:cs typeface="Calibri"/>
              </a:rPr>
              <a:t>721,000 people </a:t>
            </a:r>
            <a:r>
              <a:rPr lang="en-GB" b="0" dirty="0">
                <a:solidFill>
                  <a:srgbClr val="404040"/>
                </a:solidFill>
                <a:cs typeface="Calibri"/>
              </a:rPr>
              <a:t>serving clients in more than </a:t>
            </a:r>
            <a:r>
              <a:rPr lang="en-GB" dirty="0">
                <a:solidFill>
                  <a:srgbClr val="404040"/>
                </a:solidFill>
                <a:cs typeface="Calibri"/>
              </a:rPr>
              <a:t>49 countries, Accenture drives innovation to improve the way the world works and lives. </a:t>
            </a:r>
          </a:p>
          <a:p>
            <a:pPr lvl="0" algn="just" defTabSz="457200">
              <a:spcBef>
                <a:spcPct val="20000"/>
              </a:spcBef>
              <a:spcAft>
                <a:spcPts val="0"/>
              </a:spcAft>
              <a:buClr>
                <a:srgbClr val="632163"/>
              </a:buClr>
              <a:defRPr/>
            </a:pPr>
            <a:endParaRPr lang="en-GB" b="0" dirty="0">
              <a:solidFill>
                <a:srgbClr val="404040"/>
              </a:solidFill>
              <a:cs typeface="Calibri"/>
            </a:endParaRPr>
          </a:p>
          <a:p>
            <a:pPr lvl="0" algn="just" defTabSz="457200">
              <a:spcBef>
                <a:spcPct val="20000"/>
              </a:spcBef>
              <a:spcAft>
                <a:spcPts val="0"/>
              </a:spcAft>
              <a:buClr>
                <a:srgbClr val="632163"/>
              </a:buClr>
              <a:defRPr/>
            </a:pPr>
            <a:r>
              <a:rPr lang="en-GB" b="0" dirty="0">
                <a:solidFill>
                  <a:srgbClr val="404040"/>
                </a:solidFill>
                <a:cs typeface="Calibri"/>
              </a:rPr>
              <a:t>Visit us at </a:t>
            </a:r>
            <a:r>
              <a:rPr lang="en-GB" b="0" dirty="0">
                <a:solidFill>
                  <a:srgbClr val="404040"/>
                </a:solidFill>
                <a:cs typeface="Calibri"/>
                <a:hlinkClick r:id="rId2"/>
              </a:rPr>
              <a:t>www.accenture.com</a:t>
            </a:r>
            <a:r>
              <a:rPr lang="en-GB" b="0" dirty="0">
                <a:solidFill>
                  <a:srgbClr val="404040"/>
                </a:solidFill>
                <a:cs typeface="Calibri"/>
              </a:rPr>
              <a:t> </a:t>
            </a:r>
          </a:p>
          <a:p>
            <a:pPr lvl="0" algn="just" defTabSz="457200">
              <a:spcBef>
                <a:spcPct val="20000"/>
              </a:spcBef>
              <a:spcAft>
                <a:spcPts val="0"/>
              </a:spcAft>
              <a:buClr>
                <a:srgbClr val="632163"/>
              </a:buClr>
              <a:defRPr/>
            </a:pPr>
            <a:endParaRPr lang="en-GB" sz="800" b="0" dirty="0">
              <a:solidFill>
                <a:srgbClr val="404040"/>
              </a:solidFill>
              <a:cs typeface="Calibri"/>
            </a:endParaRPr>
          </a:p>
          <a:p>
            <a:pPr lvl="0" algn="just" defTabSz="457200">
              <a:spcBef>
                <a:spcPct val="20000"/>
              </a:spcBef>
              <a:spcAft>
                <a:spcPts val="0"/>
              </a:spcAft>
              <a:buClr>
                <a:srgbClr val="632163"/>
              </a:buClr>
              <a:defRPr/>
            </a:pPr>
            <a:endParaRPr lang="en-GB" sz="800" dirty="0">
              <a:solidFill>
                <a:srgbClr val="404040"/>
              </a:solidFill>
              <a:cs typeface="Calibri"/>
            </a:endParaRPr>
          </a:p>
          <a:p>
            <a:pPr lvl="0" algn="just" defTabSz="457200">
              <a:spcBef>
                <a:spcPct val="20000"/>
              </a:spcBef>
              <a:spcAft>
                <a:spcPts val="0"/>
              </a:spcAft>
              <a:buClr>
                <a:srgbClr val="632163"/>
              </a:buClr>
              <a:defRPr/>
            </a:pPr>
            <a:endParaRPr lang="en-GB" sz="800" dirty="0">
              <a:solidFill>
                <a:srgbClr val="404040"/>
              </a:solidFill>
              <a:cs typeface="Calibri"/>
            </a:endParaRPr>
          </a:p>
          <a:p>
            <a:pPr lvl="0" algn="just" defTabSz="457200">
              <a:spcBef>
                <a:spcPct val="20000"/>
              </a:spcBef>
              <a:spcAft>
                <a:spcPts val="0"/>
              </a:spcAft>
              <a:buClr>
                <a:srgbClr val="632163"/>
              </a:buClr>
              <a:defRPr/>
            </a:pPr>
            <a:endParaRPr lang="en-GB" sz="800" b="0" dirty="0">
              <a:solidFill>
                <a:srgbClr val="404040"/>
              </a:solidFill>
              <a:cs typeface="Calibri"/>
            </a:endParaRPr>
          </a:p>
          <a:p>
            <a:pPr lvl="0" algn="just" defTabSz="457200">
              <a:spcBef>
                <a:spcPct val="20000"/>
              </a:spcBef>
              <a:spcAft>
                <a:spcPts val="0"/>
              </a:spcAft>
              <a:buClr>
                <a:srgbClr val="632163"/>
              </a:buClr>
              <a:defRPr/>
            </a:pPr>
            <a:endParaRPr lang="en-GB" sz="800" dirty="0">
              <a:solidFill>
                <a:srgbClr val="404040"/>
              </a:solidFill>
              <a:cs typeface="Calibri"/>
            </a:endParaRPr>
          </a:p>
          <a:p>
            <a:pPr lvl="0" algn="just" defTabSz="457200">
              <a:spcBef>
                <a:spcPct val="20000"/>
              </a:spcBef>
              <a:spcAft>
                <a:spcPts val="0"/>
              </a:spcAft>
              <a:buClr>
                <a:srgbClr val="632163"/>
              </a:buClr>
              <a:defRPr/>
            </a:pPr>
            <a:endParaRPr lang="en-GB" sz="800" b="0" dirty="0">
              <a:solidFill>
                <a:srgbClr val="404040"/>
              </a:solidFill>
              <a:cs typeface="Calibri"/>
            </a:endParaRPr>
          </a:p>
          <a:p>
            <a:pPr lvl="0" algn="just" defTabSz="457200">
              <a:spcBef>
                <a:spcPct val="20000"/>
              </a:spcBef>
              <a:spcAft>
                <a:spcPts val="0"/>
              </a:spcAft>
              <a:buClr>
                <a:srgbClr val="632163"/>
              </a:buClr>
              <a:defRPr/>
            </a:pPr>
            <a:endParaRPr lang="en-GB" sz="800" dirty="0">
              <a:solidFill>
                <a:srgbClr val="404040"/>
              </a:solidFill>
              <a:cs typeface="Calibri"/>
            </a:endParaRPr>
          </a:p>
        </p:txBody>
      </p:sp>
      <p:sp>
        <p:nvSpPr>
          <p:cNvPr id="13" name="Content Placeholder 4">
            <a:extLst>
              <a:ext uri="{FF2B5EF4-FFF2-40B4-BE49-F238E27FC236}">
                <a16:creationId xmlns:a16="http://schemas.microsoft.com/office/drawing/2014/main" id="{D1059178-E0B5-44E8-AD27-87302D8E129E}"/>
              </a:ext>
            </a:extLst>
          </p:cNvPr>
          <p:cNvSpPr txBox="1">
            <a:spLocks/>
          </p:cNvSpPr>
          <p:nvPr/>
        </p:nvSpPr>
        <p:spPr>
          <a:xfrm>
            <a:off x="381000" y="2262999"/>
            <a:ext cx="5750983" cy="2158530"/>
          </a:xfrm>
          <a:prstGeom prst="rect">
            <a:avLst/>
          </a:prstGeom>
        </p:spPr>
        <p:txBody>
          <a:bodyPr vert="horz" lIns="48000" tIns="48000" rIns="48000" bIns="48000" rtlCol="0" anchor="b">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632163"/>
              </a:buClr>
              <a:buSzTx/>
              <a:buFont typeface="Arial"/>
              <a:buNone/>
              <a:tabLst/>
              <a:defRPr/>
            </a:pPr>
            <a:endParaRPr kumimoji="0" lang="en-US" sz="1200" b="0" i="0" u="none" strike="noStrike" kern="1200" cap="none" spc="0" normalizeH="0" baseline="0" noProof="0">
              <a:ln>
                <a:noFill/>
              </a:ln>
              <a:solidFill>
                <a:srgbClr val="404040"/>
              </a:solidFill>
              <a:effectLst/>
              <a:uLnTx/>
              <a:uFillTx/>
              <a:latin typeface="Graphik"/>
              <a:ea typeface="+mn-ea"/>
              <a:cs typeface="Calibri"/>
            </a:endParaRPr>
          </a:p>
        </p:txBody>
      </p:sp>
      <p:sp>
        <p:nvSpPr>
          <p:cNvPr id="5" name="Title 2">
            <a:extLst>
              <a:ext uri="{FF2B5EF4-FFF2-40B4-BE49-F238E27FC236}">
                <a16:creationId xmlns:a16="http://schemas.microsoft.com/office/drawing/2014/main" id="{D34B6D9F-0FAF-C196-B8C8-64FC5694FC1B}"/>
              </a:ext>
            </a:extLst>
          </p:cNvPr>
          <p:cNvSpPr>
            <a:spLocks noGrp="1"/>
          </p:cNvSpPr>
          <p:nvPr>
            <p:ph type="title"/>
          </p:nvPr>
        </p:nvSpPr>
        <p:spPr>
          <a:xfrm>
            <a:off x="381000" y="381000"/>
            <a:ext cx="11430000" cy="344710"/>
          </a:xfrm>
        </p:spPr>
        <p:txBody>
          <a:bodyPr vert="horz"/>
          <a:lstStyle/>
          <a:p>
            <a:pPr algn="just"/>
            <a:r>
              <a:rPr lang="en-US">
                <a:solidFill>
                  <a:schemeClr val="accent3"/>
                </a:solidFill>
              </a:rPr>
              <a:t>Disclaimer</a:t>
            </a:r>
          </a:p>
        </p:txBody>
      </p:sp>
    </p:spTree>
    <p:extLst>
      <p:ext uri="{BB962C8B-B14F-4D97-AF65-F5344CB8AC3E}">
        <p14:creationId xmlns:p14="http://schemas.microsoft.com/office/powerpoint/2010/main" val="1288059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67EB3A3-B6DE-4F03-BD5A-9835A4A30C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5618" t="-18"/>
          <a:stretch/>
        </p:blipFill>
        <p:spPr>
          <a:xfrm>
            <a:off x="9176579" y="4189675"/>
            <a:ext cx="2248660" cy="2136316"/>
          </a:xfrm>
          <a:prstGeom prst="rect">
            <a:avLst/>
          </a:prstGeom>
        </p:spPr>
      </p:pic>
      <p:pic>
        <p:nvPicPr>
          <p:cNvPr id="4" name="Picture 3">
            <a:extLst>
              <a:ext uri="{FF2B5EF4-FFF2-40B4-BE49-F238E27FC236}">
                <a16:creationId xmlns:a16="http://schemas.microsoft.com/office/drawing/2014/main" id="{DB8D3AE6-3609-4C98-8BAE-846028BC6EF7}"/>
              </a:ext>
            </a:extLst>
          </p:cNvPr>
          <p:cNvPicPr>
            <a:picLocks noChangeAspect="1"/>
          </p:cNvPicPr>
          <p:nvPr/>
        </p:nvPicPr>
        <p:blipFill rotWithShape="1">
          <a:blip r:embed="rId5">
            <a:extLst>
              <a:ext uri="{28A0092B-C50C-407E-A947-70E740481C1C}">
                <a14:useLocalDpi xmlns:a14="http://schemas.microsoft.com/office/drawing/2010/main" val="0"/>
              </a:ext>
            </a:extLst>
          </a:blip>
          <a:srcRect l="1852" r="34267"/>
          <a:stretch/>
        </p:blipFill>
        <p:spPr>
          <a:xfrm>
            <a:off x="0" y="0"/>
            <a:ext cx="5841399" cy="6858000"/>
          </a:xfrm>
          <a:prstGeom prst="rect">
            <a:avLst/>
          </a:prstGeom>
        </p:spPr>
      </p:pic>
      <p:sp>
        <p:nvSpPr>
          <p:cNvPr id="19" name="Rectangle 18">
            <a:extLst>
              <a:ext uri="{FF2B5EF4-FFF2-40B4-BE49-F238E27FC236}">
                <a16:creationId xmlns:a16="http://schemas.microsoft.com/office/drawing/2014/main" id="{EFF01CF5-E152-4984-9116-46302C4CF2D8}"/>
              </a:ext>
            </a:extLst>
          </p:cNvPr>
          <p:cNvSpPr/>
          <p:nvPr/>
        </p:nvSpPr>
        <p:spPr>
          <a:xfrm>
            <a:off x="1" y="0"/>
            <a:ext cx="3314699" cy="6858000"/>
          </a:xfrm>
          <a:prstGeom prst="rect">
            <a:avLst/>
          </a:prstGeom>
          <a:gradFill>
            <a:gsLst>
              <a:gs pos="35000">
                <a:srgbClr val="000000">
                  <a:alpha val="44000"/>
                </a:srgbClr>
              </a:gs>
              <a:gs pos="100000">
                <a:srgbClr val="000000">
                  <a:alpha val="0"/>
                </a:srgbClr>
              </a:gs>
            </a:gsLst>
            <a:lin ang="0" scaled="0"/>
          </a:grad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err="1">
              <a:ln>
                <a:noFill/>
              </a:ln>
              <a:solidFill>
                <a:srgbClr val="FFFFFF"/>
              </a:solidFill>
              <a:effectLst/>
              <a:uLnTx/>
              <a:uFillTx/>
              <a:latin typeface="Graphik"/>
              <a:ea typeface="+mn-ea"/>
              <a:cs typeface="+mn-cs"/>
            </a:endParaRPr>
          </a:p>
        </p:txBody>
      </p:sp>
      <p:sp>
        <p:nvSpPr>
          <p:cNvPr id="20" name="Rectangle 13">
            <a:extLst>
              <a:ext uri="{FF2B5EF4-FFF2-40B4-BE49-F238E27FC236}">
                <a16:creationId xmlns:a16="http://schemas.microsoft.com/office/drawing/2014/main" id="{6AD8B512-90C5-4472-9155-707368CF8F07}"/>
              </a:ext>
            </a:extLst>
          </p:cNvPr>
          <p:cNvSpPr>
            <a:spLocks noChangeArrowheads="1"/>
          </p:cNvSpPr>
          <p:nvPr>
            <p:custDataLst>
              <p:tags r:id="rId1"/>
            </p:custDataLst>
          </p:nvPr>
        </p:nvSpPr>
        <p:spPr bwMode="auto">
          <a:xfrm>
            <a:off x="6583680" y="1363732"/>
            <a:ext cx="5227319" cy="466730"/>
          </a:xfrm>
          <a:prstGeom prst="rect">
            <a:avLst/>
          </a:prstGeom>
          <a:noFill/>
          <a:ln w="9525" algn="ctr">
            <a:noFill/>
            <a:miter lim="800000"/>
            <a:headEnd/>
            <a:tailEnd/>
          </a:ln>
          <a:effectLst/>
        </p:spPr>
        <p:txBody>
          <a:bodyPr lIns="0" tIns="0" rIns="0" bIns="0" anchor="ctr">
            <a:noAutofit/>
          </a:bodyPr>
          <a:lstStyle/>
          <a:p>
            <a:pPr marL="0" marR="0" lvl="0" indent="0" algn="l" defTabSz="585773" rtl="0" eaLnBrk="0"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7900BF"/>
              </a:solidFill>
              <a:effectLst/>
              <a:uLnTx/>
              <a:uFillTx/>
              <a:latin typeface="Graphik Black" panose="020B0A03030202060203" pitchFamily="34" charset="0"/>
              <a:ea typeface="+mn-ea"/>
              <a:cs typeface="+mn-cs"/>
            </a:endParaRPr>
          </a:p>
        </p:txBody>
      </p:sp>
      <p:sp>
        <p:nvSpPr>
          <p:cNvPr id="2" name="Title 1">
            <a:extLst>
              <a:ext uri="{FF2B5EF4-FFF2-40B4-BE49-F238E27FC236}">
                <a16:creationId xmlns:a16="http://schemas.microsoft.com/office/drawing/2014/main" id="{9863F77B-BF81-45FF-ADEC-3A617BEAE29B}"/>
              </a:ext>
            </a:extLst>
          </p:cNvPr>
          <p:cNvSpPr>
            <a:spLocks noGrp="1"/>
          </p:cNvSpPr>
          <p:nvPr>
            <p:ph type="title"/>
          </p:nvPr>
        </p:nvSpPr>
        <p:spPr>
          <a:xfrm>
            <a:off x="700314" y="856522"/>
            <a:ext cx="2819683" cy="1772793"/>
          </a:xfrm>
        </p:spPr>
        <p:txBody>
          <a:bodyPr wrap="none"/>
          <a:lstStyle/>
          <a:p>
            <a:r>
              <a:rPr lang="en-US" sz="3600" dirty="0">
                <a:solidFill>
                  <a:schemeClr val="bg1"/>
                </a:solidFill>
              </a:rPr>
              <a:t>Introducing </a:t>
            </a:r>
            <a:br>
              <a:rPr lang="en-US" sz="3600" dirty="0">
                <a:solidFill>
                  <a:schemeClr val="bg1"/>
                </a:solidFill>
              </a:rPr>
            </a:br>
            <a:r>
              <a:rPr lang="en-US" sz="3600" dirty="0">
                <a:solidFill>
                  <a:schemeClr val="bg1"/>
                </a:solidFill>
              </a:rPr>
              <a:t>Enterprise </a:t>
            </a:r>
            <a:br>
              <a:rPr lang="en-US" sz="3600" dirty="0">
                <a:solidFill>
                  <a:schemeClr val="bg1"/>
                </a:solidFill>
              </a:rPr>
            </a:br>
            <a:r>
              <a:rPr lang="en-US" sz="3600" dirty="0">
                <a:solidFill>
                  <a:schemeClr val="bg1"/>
                </a:solidFill>
              </a:rPr>
              <a:t>Technology </a:t>
            </a:r>
            <a:br>
              <a:rPr lang="en-US" sz="3600" dirty="0">
                <a:solidFill>
                  <a:schemeClr val="bg1"/>
                </a:solidFill>
              </a:rPr>
            </a:br>
            <a:r>
              <a:rPr lang="en-US" sz="3600" dirty="0">
                <a:solidFill>
                  <a:schemeClr val="bg1"/>
                </a:solidFill>
              </a:rPr>
              <a:t>Blueprints</a:t>
            </a:r>
            <a:endParaRPr lang="en-ZA" sz="3600" dirty="0">
              <a:solidFill>
                <a:schemeClr val="bg1"/>
              </a:solidFill>
            </a:endParaRPr>
          </a:p>
        </p:txBody>
      </p:sp>
      <p:sp>
        <p:nvSpPr>
          <p:cNvPr id="21" name="Rectangle 20">
            <a:extLst>
              <a:ext uri="{FF2B5EF4-FFF2-40B4-BE49-F238E27FC236}">
                <a16:creationId xmlns:a16="http://schemas.microsoft.com/office/drawing/2014/main" id="{9BBF843A-31E7-47B6-BBBC-C7D70EFCA5EE}"/>
              </a:ext>
            </a:extLst>
          </p:cNvPr>
          <p:cNvSpPr/>
          <p:nvPr/>
        </p:nvSpPr>
        <p:spPr>
          <a:xfrm>
            <a:off x="9867900" y="382452"/>
            <a:ext cx="1943099" cy="405683"/>
          </a:xfrm>
          <a:prstGeom prst="rect">
            <a:avLst/>
          </a:prstGeom>
          <a:solidFill>
            <a:schemeClr val="bg1"/>
          </a:solidFill>
          <a:ln w="19050">
            <a:solidFill>
              <a:schemeClr val="tx1"/>
            </a:solidFill>
          </a:ln>
        </p:spPr>
        <p:txBody>
          <a:bodyPr wrap="square" lIns="72000" tIns="36000" rIns="72000" bIns="36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Graphik"/>
                <a:ea typeface="+mn-ea"/>
                <a:cs typeface="+mn-cs"/>
              </a:rPr>
              <a:t>Internal material only. </a:t>
            </a:r>
            <a:br>
              <a:rPr kumimoji="0" lang="en-GB" sz="1050" b="0" i="0" u="none" strike="noStrike" kern="1200" cap="none" spc="0" normalizeH="0" baseline="0" noProof="0" dirty="0">
                <a:ln>
                  <a:noFill/>
                </a:ln>
                <a:solidFill>
                  <a:srgbClr val="000000"/>
                </a:solidFill>
                <a:effectLst/>
                <a:uLnTx/>
                <a:uFillTx/>
                <a:latin typeface="Graphik"/>
                <a:ea typeface="+mn-ea"/>
                <a:cs typeface="+mn-cs"/>
              </a:rPr>
            </a:br>
            <a:r>
              <a:rPr kumimoji="0" lang="en-GB" sz="1050" b="0" i="0" u="none" strike="noStrike" kern="1200" cap="none" spc="0" normalizeH="0" baseline="0" noProof="0" dirty="0">
                <a:ln>
                  <a:noFill/>
                </a:ln>
                <a:solidFill>
                  <a:srgbClr val="000000"/>
                </a:solidFill>
                <a:effectLst/>
                <a:uLnTx/>
                <a:uFillTx/>
                <a:latin typeface="Graphik"/>
                <a:ea typeface="+mn-ea"/>
                <a:cs typeface="+mn-cs"/>
              </a:rPr>
              <a:t>Not to be sent to clients</a:t>
            </a:r>
            <a:endParaRPr kumimoji="0" lang="en-US" sz="105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 name="Text Placeholder 25">
            <a:extLst>
              <a:ext uri="{FF2B5EF4-FFF2-40B4-BE49-F238E27FC236}">
                <a16:creationId xmlns:a16="http://schemas.microsoft.com/office/drawing/2014/main" id="{CBCBECF6-D38C-4AE0-970C-D20D0272B734}"/>
              </a:ext>
            </a:extLst>
          </p:cNvPr>
          <p:cNvSpPr>
            <a:spLocks noGrp="1"/>
          </p:cNvSpPr>
          <p:nvPr>
            <p:ph type="body" sz="quarter" idx="13"/>
          </p:nvPr>
        </p:nvSpPr>
        <p:spPr>
          <a:xfrm>
            <a:off x="6176673" y="1376363"/>
            <a:ext cx="2526699" cy="246221"/>
          </a:xfrm>
        </p:spPr>
        <p:txBody>
          <a:bodyPr/>
          <a:lstStyle/>
          <a:p>
            <a:r>
              <a:rPr lang="en-GB" sz="1600" dirty="0"/>
              <a:t>What are ETBs?</a:t>
            </a:r>
          </a:p>
        </p:txBody>
      </p:sp>
      <p:sp>
        <p:nvSpPr>
          <p:cNvPr id="66" name="Text Placeholder 26">
            <a:extLst>
              <a:ext uri="{FF2B5EF4-FFF2-40B4-BE49-F238E27FC236}">
                <a16:creationId xmlns:a16="http://schemas.microsoft.com/office/drawing/2014/main" id="{0437C5C4-728A-4FBE-8910-47D7926D4183}"/>
              </a:ext>
            </a:extLst>
          </p:cNvPr>
          <p:cNvSpPr>
            <a:spLocks noGrp="1"/>
          </p:cNvSpPr>
          <p:nvPr>
            <p:ph type="body" sz="quarter" idx="14"/>
          </p:nvPr>
        </p:nvSpPr>
        <p:spPr>
          <a:xfrm>
            <a:off x="9178239" y="1376363"/>
            <a:ext cx="2632761" cy="246221"/>
          </a:xfrm>
        </p:spPr>
        <p:txBody>
          <a:bodyPr/>
          <a:lstStyle/>
          <a:p>
            <a:r>
              <a:rPr lang="en-GB" sz="1600" dirty="0"/>
              <a:t>Why do we need ETBs?</a:t>
            </a:r>
          </a:p>
        </p:txBody>
      </p:sp>
      <p:sp>
        <p:nvSpPr>
          <p:cNvPr id="67" name="Text Placeholder 25">
            <a:extLst>
              <a:ext uri="{FF2B5EF4-FFF2-40B4-BE49-F238E27FC236}">
                <a16:creationId xmlns:a16="http://schemas.microsoft.com/office/drawing/2014/main" id="{08061645-DE9B-44E8-9F91-13479607538B}"/>
              </a:ext>
            </a:extLst>
          </p:cNvPr>
          <p:cNvSpPr txBox="1">
            <a:spLocks/>
          </p:cNvSpPr>
          <p:nvPr/>
        </p:nvSpPr>
        <p:spPr>
          <a:xfrm>
            <a:off x="6176673" y="1868219"/>
            <a:ext cx="2526699" cy="3924151"/>
          </a:xfrm>
          <a:prstGeom prst="rect">
            <a:avLst/>
          </a:prstGeom>
        </p:spPr>
        <p:txBody>
          <a:bodyPr vert="horz" wrap="square" lIns="0" tIns="0" rIns="0" bIns="0" rtlCol="0">
            <a:spAutoFit/>
          </a:bodyPr>
          <a:lst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Technology Strategy &amp; Advisory partners with the Industry teams to develop industry specific Enterprise Technology Blueprints (ETBs) for many key industries.  </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ETBs are structured frameworks that provide a holistic view of all necessary technology capabilities that enable a Cloud business.</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ETBs also include technology trends, vendor and product information and architecture principles.</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Graphik"/>
                <a:ea typeface="+mn-ea"/>
                <a:cs typeface="+mn-cs"/>
              </a:rPr>
              <a:t>ETBs combine enterprise architecture expertise with industry and functional knowledge across clients and geographies.</a:t>
            </a:r>
            <a:endParaRPr kumimoji="0" lang="en-ZA" sz="12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8" name="Text Placeholder 26">
            <a:extLst>
              <a:ext uri="{FF2B5EF4-FFF2-40B4-BE49-F238E27FC236}">
                <a16:creationId xmlns:a16="http://schemas.microsoft.com/office/drawing/2014/main" id="{ED5A59F1-6B14-4902-8284-798A77769EAD}"/>
              </a:ext>
            </a:extLst>
          </p:cNvPr>
          <p:cNvSpPr txBox="1">
            <a:spLocks/>
          </p:cNvSpPr>
          <p:nvPr/>
        </p:nvSpPr>
        <p:spPr>
          <a:xfrm>
            <a:off x="9178239" y="1868219"/>
            <a:ext cx="2246999" cy="1892826"/>
          </a:xfrm>
          <a:prstGeom prst="rect">
            <a:avLst/>
          </a:prstGeom>
        </p:spPr>
        <p:txBody>
          <a:bodyPr vert="horz" wrap="square" lIns="0" tIns="0" rIns="0" bIns="0" rtlCol="0">
            <a:spAutoFit/>
          </a:bodyPr>
          <a:lstStyle>
            <a:lvl1pPr marL="0" indent="0" algn="l" defTabSz="228600" rtl="0" eaLnBrk="1" latinLnBrk="0" hangingPunct="1">
              <a:lnSpc>
                <a:spcPct val="100000"/>
              </a:lnSpc>
              <a:spcBef>
                <a:spcPts val="300"/>
              </a:spcBef>
              <a:spcAft>
                <a:spcPts val="300"/>
              </a:spcAft>
              <a:buFont typeface="Arial" panose="020B0604020202020204" pitchFamily="34" charset="0"/>
              <a:buNone/>
              <a:defRPr sz="1200" b="1" kern="1200">
                <a:solidFill>
                  <a:schemeClr val="tx1"/>
                </a:solidFill>
                <a:latin typeface="+mn-lt"/>
                <a:ea typeface="+mn-ea"/>
                <a:cs typeface="+mn-cs"/>
              </a:defRPr>
            </a:lvl1pPr>
            <a:lvl2pPr marL="0" indent="0" algn="l" defTabSz="228600" rtl="0" eaLnBrk="1" latinLnBrk="0" hangingPunct="1">
              <a:lnSpc>
                <a:spcPct val="100000"/>
              </a:lnSpc>
              <a:spcBef>
                <a:spcPts val="300"/>
              </a:spcBef>
              <a:spcAft>
                <a:spcPts val="300"/>
              </a:spcAft>
              <a:buClrTx/>
              <a:buFont typeface="Arial" panose="020B0604020202020204" pitchFamily="34" charset="0"/>
              <a:buNone/>
              <a:defRPr sz="1200" kern="1200">
                <a:solidFill>
                  <a:schemeClr val="tx1"/>
                </a:solidFill>
                <a:latin typeface="+mn-lt"/>
                <a:ea typeface="+mn-ea"/>
                <a:cs typeface="+mn-cs"/>
              </a:defRPr>
            </a:lvl2pPr>
            <a:lvl3pPr marL="144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288000" indent="-144000" algn="l" defTabSz="228600" rtl="0" eaLnBrk="1" latinLnBrk="0" hangingPunct="1">
              <a:lnSpc>
                <a:spcPct val="100000"/>
              </a:lnSpc>
              <a:spcBef>
                <a:spcPts val="300"/>
              </a:spcBef>
              <a:spcAft>
                <a:spcPts val="300"/>
              </a:spcAft>
              <a:buFont typeface="Graphik" panose="020B0503030202060203" pitchFamily="34" charset="0"/>
              <a:buChar char="–"/>
              <a:defRPr sz="1200" kern="1200">
                <a:solidFill>
                  <a:schemeClr val="tx1"/>
                </a:solidFill>
                <a:latin typeface="+mn-lt"/>
                <a:ea typeface="+mn-ea"/>
                <a:cs typeface="+mn-cs"/>
              </a:defRPr>
            </a:lvl4pPr>
            <a:lvl5pPr marL="432000" indent="-144000" algn="l" defTabSz="228600"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marL="0" marR="0" lvl="1" indent="0" algn="l" defTabSz="2286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The purpose of the ETB is to:</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Capture latest technology thought leadership in Cloud enterprise architecture</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Demonstrate Accenture’s Cloud enterprise architecture expertise </a:t>
            </a:r>
          </a:p>
          <a:p>
            <a:pPr marL="144000" marR="0" lvl="2" indent="-144000" algn="l" defTabSz="2286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raphik"/>
                <a:ea typeface="+mn-ea"/>
                <a:cs typeface="+mn-cs"/>
              </a:rPr>
              <a:t>Accelerate technology strategy projects</a:t>
            </a:r>
          </a:p>
        </p:txBody>
      </p:sp>
      <p:pic>
        <p:nvPicPr>
          <p:cNvPr id="71" name="Picture 70">
            <a:extLst>
              <a:ext uri="{FF2B5EF4-FFF2-40B4-BE49-F238E27FC236}">
                <a16:creationId xmlns:a16="http://schemas.microsoft.com/office/drawing/2014/main" id="{5BD1E2DA-1C93-4355-A11D-694A9A2DFD7B}"/>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72" name="TextBox 71">
            <a:extLst>
              <a:ext uri="{FF2B5EF4-FFF2-40B4-BE49-F238E27FC236}">
                <a16:creationId xmlns:a16="http://schemas.microsoft.com/office/drawing/2014/main" id="{43DB81EF-C2AF-40CA-9DFF-16D96D126C8E}"/>
              </a:ext>
            </a:extLst>
          </p:cNvPr>
          <p:cNvSpPr txBox="1"/>
          <p:nvPr/>
        </p:nvSpPr>
        <p:spPr>
          <a:xfrm>
            <a:off x="700314" y="6522125"/>
            <a:ext cx="1578958" cy="123111"/>
          </a:xfrm>
          <a:prstGeom prst="rect">
            <a:avLst/>
          </a:prstGeom>
          <a:noFill/>
        </p:spPr>
        <p:txBody>
          <a:bodyPr wrap="none" lIns="0" tIns="0" rIns="0" bIns="0" rtlCol="0" anchor="ctr">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rPr>
              <a:t>Enterprise Technology Blueprint</a:t>
            </a:r>
            <a:endParaRPr kumimoji="0" lang="en-US"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73" name="Rectangle 72">
            <a:extLst>
              <a:ext uri="{FF2B5EF4-FFF2-40B4-BE49-F238E27FC236}">
                <a16:creationId xmlns:a16="http://schemas.microsoft.com/office/drawing/2014/main" id="{5D2F1821-974C-4470-81F3-A76093A1F218}"/>
              </a:ext>
            </a:extLst>
          </p:cNvPr>
          <p:cNvSpPr/>
          <p:nvPr/>
        </p:nvSpPr>
        <p:spPr>
          <a:xfrm>
            <a:off x="9178239" y="4189675"/>
            <a:ext cx="2246999" cy="2136315"/>
          </a:xfrm>
          <a:prstGeom prst="rect">
            <a:avLst/>
          </a:prstGeom>
          <a:noFill/>
          <a:ln w="12700">
            <a:noFill/>
          </a:ln>
          <a:effectLst>
            <a:outerShdw sx="0" sy="0" algn="tl" rotWithShape="0">
              <a:prstClr val="black">
                <a:alpha val="40000"/>
              </a:prstClr>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wrap="square" lIns="180000" tIns="144000" rIns="180000" bIns="144000" anchor="ctr">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raphik Semibold"/>
                <a:ea typeface="+mn-ea"/>
                <a:cs typeface="+mn-cs"/>
              </a:rPr>
              <a:t>This is the 1st version of the “Cloud Enterprise Technology Blueprint”. ​</a:t>
            </a:r>
            <a:endParaRPr kumimoji="0" lang="en-ZA" sz="1400" b="0" i="0" u="none" strike="noStrike" kern="0" cap="none" spc="0" normalizeH="0" baseline="0" noProof="0" dirty="0">
              <a:ln>
                <a:noFill/>
              </a:ln>
              <a:solidFill>
                <a:srgbClr val="FFFFFF"/>
              </a:solidFill>
              <a:effectLst/>
              <a:uLnTx/>
              <a:uFillTx/>
              <a:latin typeface="Graphik Semibold"/>
              <a:ea typeface="+mn-ea"/>
              <a:cs typeface="+mn-cs"/>
            </a:endParaRPr>
          </a:p>
        </p:txBody>
      </p:sp>
    </p:spTree>
    <p:extLst>
      <p:ext uri="{BB962C8B-B14F-4D97-AF65-F5344CB8AC3E}">
        <p14:creationId xmlns:p14="http://schemas.microsoft.com/office/powerpoint/2010/main" val="125014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1549EC7F-3A72-46CA-BABE-1882070C31CF}"/>
              </a:ext>
            </a:extLst>
          </p:cNvPr>
          <p:cNvSpPr>
            <a:spLocks noGrp="1"/>
          </p:cNvSpPr>
          <p:nvPr>
            <p:ph type="title"/>
          </p:nvPr>
        </p:nvSpPr>
        <p:spPr>
          <a:xfrm>
            <a:off x="695324" y="381000"/>
            <a:ext cx="11115675" cy="698012"/>
          </a:xfrm>
        </p:spPr>
        <p:txBody>
          <a:bodyPr/>
          <a:lstStyle/>
          <a:p>
            <a:r>
              <a:rPr lang="en-GB"/>
              <a:t>What is in the Cloud</a:t>
            </a:r>
            <a:br>
              <a:rPr lang="en-GB" dirty="0"/>
            </a:br>
            <a:r>
              <a:rPr lang="en-GB"/>
              <a:t>Enterprise Technology Blueprint v1.0?</a:t>
            </a:r>
          </a:p>
        </p:txBody>
      </p:sp>
      <p:sp>
        <p:nvSpPr>
          <p:cNvPr id="38" name="Rectangle 37">
            <a:extLst>
              <a:ext uri="{FF2B5EF4-FFF2-40B4-BE49-F238E27FC236}">
                <a16:creationId xmlns:a16="http://schemas.microsoft.com/office/drawing/2014/main" id="{3C92C27A-6613-484C-A57A-7BCC4C49D801}"/>
              </a:ext>
            </a:extLst>
          </p:cNvPr>
          <p:cNvSpPr/>
          <p:nvPr/>
        </p:nvSpPr>
        <p:spPr>
          <a:xfrm>
            <a:off x="9867900" y="382452"/>
            <a:ext cx="1943099" cy="405683"/>
          </a:xfrm>
          <a:prstGeom prst="rect">
            <a:avLst/>
          </a:prstGeom>
          <a:solidFill>
            <a:schemeClr val="bg1"/>
          </a:solidFill>
          <a:ln w="19050">
            <a:solidFill>
              <a:schemeClr val="tx1"/>
            </a:solidFill>
          </a:ln>
        </p:spPr>
        <p:txBody>
          <a:bodyPr wrap="square" lIns="72000" tIns="36000" rIns="72000" bIns="360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Graphik"/>
                <a:ea typeface="+mn-ea"/>
                <a:cs typeface="+mn-cs"/>
              </a:rPr>
              <a:t>Internal material only. </a:t>
            </a:r>
            <a:br>
              <a:rPr kumimoji="0" lang="en-GB" sz="1050" b="0" i="0" u="none" strike="noStrike" kern="1200" cap="none" spc="0" normalizeH="0" baseline="0" noProof="0">
                <a:ln>
                  <a:noFill/>
                </a:ln>
                <a:solidFill>
                  <a:srgbClr val="000000"/>
                </a:solidFill>
                <a:effectLst/>
                <a:uLnTx/>
                <a:uFillTx/>
                <a:latin typeface="Graphik"/>
                <a:ea typeface="+mn-ea"/>
                <a:cs typeface="+mn-cs"/>
              </a:rPr>
            </a:br>
            <a:r>
              <a:rPr kumimoji="0" lang="en-GB" sz="1050" b="0" i="0" u="none" strike="noStrike" kern="1200" cap="none" spc="0" normalizeH="0" baseline="0" noProof="0">
                <a:ln>
                  <a:noFill/>
                </a:ln>
                <a:solidFill>
                  <a:srgbClr val="000000"/>
                </a:solidFill>
                <a:effectLst/>
                <a:uLnTx/>
                <a:uFillTx/>
                <a:latin typeface="Graphik"/>
                <a:ea typeface="+mn-ea"/>
                <a:cs typeface="+mn-cs"/>
              </a:rPr>
              <a:t>Not to be sent to clients</a:t>
            </a:r>
            <a:endParaRPr kumimoji="0" lang="en-US" sz="1050" b="0" i="0" u="none" strike="noStrike" kern="1200" cap="none" spc="0" normalizeH="0" baseline="0" noProof="0">
              <a:ln>
                <a:noFill/>
              </a:ln>
              <a:solidFill>
                <a:srgbClr val="000000"/>
              </a:solidFill>
              <a:effectLst/>
              <a:uLnTx/>
              <a:uFillTx/>
              <a:latin typeface="Graphik"/>
              <a:ea typeface="+mn-ea"/>
              <a:cs typeface="+mn-cs"/>
            </a:endParaRPr>
          </a:p>
        </p:txBody>
      </p:sp>
      <p:sp>
        <p:nvSpPr>
          <p:cNvPr id="32" name="Rectangle 31">
            <a:extLst>
              <a:ext uri="{FF2B5EF4-FFF2-40B4-BE49-F238E27FC236}">
                <a16:creationId xmlns:a16="http://schemas.microsoft.com/office/drawing/2014/main" id="{05B98422-ED53-43A0-BA35-5661BEE2CF5A}"/>
              </a:ext>
            </a:extLst>
          </p:cNvPr>
          <p:cNvSpPr/>
          <p:nvPr/>
        </p:nvSpPr>
        <p:spPr>
          <a:xfrm>
            <a:off x="7163495" y="1305504"/>
            <a:ext cx="1980000" cy="4798414"/>
          </a:xfrm>
          <a:prstGeom prst="rect">
            <a:avLst/>
          </a:prstGeom>
          <a:solidFill>
            <a:srgbClr val="F2E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pic>
        <p:nvPicPr>
          <p:cNvPr id="36" name="Picture 35">
            <a:extLst>
              <a:ext uri="{FF2B5EF4-FFF2-40B4-BE49-F238E27FC236}">
                <a16:creationId xmlns:a16="http://schemas.microsoft.com/office/drawing/2014/main" id="{2F5DD28C-418B-4362-ADF5-D880701ED0A6}"/>
              </a:ext>
            </a:extLst>
          </p:cNvPr>
          <p:cNvPicPr>
            <a:picLocks noChangeAspect="1"/>
          </p:cNvPicPr>
          <p:nvPr/>
        </p:nvPicPr>
        <p:blipFill>
          <a:blip r:embed="rId13">
            <a:duotone>
              <a:schemeClr val="accent1">
                <a:shade val="45000"/>
                <a:satMod val="135000"/>
              </a:schemeClr>
              <a:prstClr val="white"/>
            </a:duotone>
          </a:blip>
          <a:stretch>
            <a:fillRect/>
          </a:stretch>
        </p:blipFill>
        <p:spPr>
          <a:xfrm>
            <a:off x="7369167" y="2629797"/>
            <a:ext cx="1584000" cy="891001"/>
          </a:xfrm>
          <a:prstGeom prst="rect">
            <a:avLst/>
          </a:prstGeom>
          <a:ln>
            <a:solidFill>
              <a:srgbClr val="A100FF"/>
            </a:solidFill>
          </a:ln>
        </p:spPr>
      </p:pic>
      <p:sp>
        <p:nvSpPr>
          <p:cNvPr id="39" name="Rectangle 38">
            <a:extLst>
              <a:ext uri="{FF2B5EF4-FFF2-40B4-BE49-F238E27FC236}">
                <a16:creationId xmlns:a16="http://schemas.microsoft.com/office/drawing/2014/main" id="{1FCD59BC-C664-4112-80AE-68FE40920A1F}"/>
              </a:ext>
            </a:extLst>
          </p:cNvPr>
          <p:cNvSpPr/>
          <p:nvPr/>
        </p:nvSpPr>
        <p:spPr>
          <a:xfrm>
            <a:off x="9319551" y="1305503"/>
            <a:ext cx="1980000" cy="4798414"/>
          </a:xfrm>
          <a:prstGeom prst="rect">
            <a:avLst/>
          </a:prstGeom>
          <a:solidFill>
            <a:srgbClr val="F2E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0" name="Picture 39">
            <a:extLst>
              <a:ext uri="{FF2B5EF4-FFF2-40B4-BE49-F238E27FC236}">
                <a16:creationId xmlns:a16="http://schemas.microsoft.com/office/drawing/2014/main" id="{95239D01-F318-4AC1-9626-52B22451B30A}"/>
              </a:ext>
            </a:extLst>
          </p:cNvPr>
          <p:cNvPicPr>
            <a:picLocks noChangeAspect="1"/>
          </p:cNvPicPr>
          <p:nvPr/>
        </p:nvPicPr>
        <p:blipFill>
          <a:blip r:embed="rId14">
            <a:duotone>
              <a:schemeClr val="accent1">
                <a:shade val="45000"/>
                <a:satMod val="135000"/>
              </a:schemeClr>
              <a:prstClr val="white"/>
            </a:duotone>
          </a:blip>
          <a:stretch>
            <a:fillRect/>
          </a:stretch>
        </p:blipFill>
        <p:spPr>
          <a:xfrm>
            <a:off x="9513007" y="2629796"/>
            <a:ext cx="1584000" cy="859322"/>
          </a:xfrm>
          <a:prstGeom prst="rect">
            <a:avLst/>
          </a:prstGeom>
          <a:ln>
            <a:solidFill>
              <a:srgbClr val="A100FF"/>
            </a:solidFill>
          </a:ln>
        </p:spPr>
      </p:pic>
      <p:sp>
        <p:nvSpPr>
          <p:cNvPr id="48" name="Rectangle 47">
            <a:extLst>
              <a:ext uri="{FF2B5EF4-FFF2-40B4-BE49-F238E27FC236}">
                <a16:creationId xmlns:a16="http://schemas.microsoft.com/office/drawing/2014/main" id="{CF31B0F0-04B8-44E8-B3DD-47F06C49D514}"/>
              </a:ext>
            </a:extLst>
          </p:cNvPr>
          <p:cNvSpPr/>
          <p:nvPr/>
        </p:nvSpPr>
        <p:spPr>
          <a:xfrm>
            <a:off x="695324" y="1305503"/>
            <a:ext cx="1980000" cy="4798414"/>
          </a:xfrm>
          <a:prstGeom prst="rect">
            <a:avLst/>
          </a:prstGeom>
          <a:solidFill>
            <a:srgbClr val="F2E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pic>
        <p:nvPicPr>
          <p:cNvPr id="49" name="Picture 48">
            <a:extLst>
              <a:ext uri="{FF2B5EF4-FFF2-40B4-BE49-F238E27FC236}">
                <a16:creationId xmlns:a16="http://schemas.microsoft.com/office/drawing/2014/main" id="{6C9083B1-3D94-4BCF-ABD3-D53F1C3BBE94}"/>
              </a:ext>
            </a:extLst>
          </p:cNvPr>
          <p:cNvPicPr>
            <a:picLocks noChangeAspect="1"/>
          </p:cNvPicPr>
          <p:nvPr/>
        </p:nvPicPr>
        <p:blipFill>
          <a:blip r:embed="rId15"/>
          <a:stretch>
            <a:fillRect/>
          </a:stretch>
        </p:blipFill>
        <p:spPr>
          <a:xfrm>
            <a:off x="890318" y="2629796"/>
            <a:ext cx="1584000" cy="891000"/>
          </a:xfrm>
          <a:prstGeom prst="rect">
            <a:avLst/>
          </a:prstGeom>
          <a:ln>
            <a:solidFill>
              <a:srgbClr val="902EDA"/>
            </a:solidFill>
          </a:ln>
        </p:spPr>
      </p:pic>
      <p:sp>
        <p:nvSpPr>
          <p:cNvPr id="50" name="Rectangle 4">
            <a:extLst>
              <a:ext uri="{FF2B5EF4-FFF2-40B4-BE49-F238E27FC236}">
                <a16:creationId xmlns:a16="http://schemas.microsoft.com/office/drawing/2014/main" id="{05831483-C0D1-4180-B0C0-0A01069E400E}"/>
              </a:ext>
            </a:extLst>
          </p:cNvPr>
          <p:cNvSpPr>
            <a:spLocks noChangeArrowheads="1"/>
          </p:cNvSpPr>
          <p:nvPr>
            <p:custDataLst>
              <p:tags r:id="rId1"/>
            </p:custDataLst>
          </p:nvPr>
        </p:nvSpPr>
        <p:spPr bwMode="auto">
          <a:xfrm>
            <a:off x="695324" y="1305504"/>
            <a:ext cx="1980000" cy="404544"/>
          </a:xfrm>
          <a:prstGeom prst="rect">
            <a:avLst/>
          </a:prstGeom>
          <a:solidFill>
            <a:schemeClr val="accent6">
              <a:lumMod val="9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sz="1200" b="1">
                <a:solidFill>
                  <a:srgbClr val="FFFFFF"/>
                </a:solidFill>
                <a:latin typeface="Graphik"/>
              </a:rPr>
              <a:t>CHAPTER  1</a:t>
            </a:r>
          </a:p>
        </p:txBody>
      </p:sp>
      <p:sp>
        <p:nvSpPr>
          <p:cNvPr id="51" name="Content Placeholder 4">
            <a:extLst>
              <a:ext uri="{FF2B5EF4-FFF2-40B4-BE49-F238E27FC236}">
                <a16:creationId xmlns:a16="http://schemas.microsoft.com/office/drawing/2014/main" id="{2B55B989-FC13-439C-AB45-B48BC5C978F0}"/>
              </a:ext>
            </a:extLst>
          </p:cNvPr>
          <p:cNvSpPr txBox="1">
            <a:spLocks/>
          </p:cNvSpPr>
          <p:nvPr/>
        </p:nvSpPr>
        <p:spPr>
          <a:xfrm>
            <a:off x="890318" y="3650742"/>
            <a:ext cx="1584000" cy="1391868"/>
          </a:xfrm>
          <a:prstGeom prst="rect">
            <a:avLst/>
          </a:prstGeom>
        </p:spPr>
        <p:txBody>
          <a:bodyPr vert="horz" lIns="72000" tIns="36000" rIns="72000" bIns="36000" rtlCol="0">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632163"/>
              </a:buClr>
              <a:buSzTx/>
              <a:buFont typeface="Arial"/>
              <a:buNone/>
              <a:tabLst/>
              <a:defRPr/>
            </a:pPr>
            <a:r>
              <a:rPr kumimoji="0" lang="en-US" sz="1100" b="0" i="0" u="none" strike="noStrike" kern="1200" cap="none" spc="0" normalizeH="0" baseline="0" noProof="0" dirty="0">
                <a:ln>
                  <a:noFill/>
                </a:ln>
                <a:solidFill>
                  <a:srgbClr val="000000"/>
                </a:solidFill>
                <a:effectLst/>
                <a:uLnTx/>
                <a:uFillTx/>
                <a:latin typeface="Graphik" panose="020B0503030202060203" pitchFamily="34" charset="0"/>
                <a:ea typeface="+mn-ea"/>
                <a:cs typeface="Calibri"/>
              </a:rPr>
              <a:t>Overview of latest </a:t>
            </a:r>
            <a:r>
              <a:rPr kumimoji="0" lang="en-GB" sz="1100" b="0" i="0" u="none" strike="noStrike" kern="1200" cap="none" spc="0" normalizeH="0" baseline="0" noProof="0" dirty="0">
                <a:ln>
                  <a:noFill/>
                </a:ln>
                <a:solidFill>
                  <a:srgbClr val="7500C0"/>
                </a:solidFill>
                <a:effectLst/>
                <a:uLnTx/>
                <a:uFillTx/>
                <a:latin typeface="Graphik" panose="020B0503030202060203" pitchFamily="34" charset="0"/>
                <a:ea typeface="+mn-ea"/>
                <a:cs typeface="Calibri"/>
              </a:rPr>
              <a:t>Industry Context, Resilient Modern Architecture, Approach and Case Studies  </a:t>
            </a:r>
            <a:r>
              <a:rPr kumimoji="0" lang="en-GB" sz="1100" b="0" i="0" u="none" strike="noStrike" kern="1200" cap="none" spc="0" normalizeH="0" baseline="0" noProof="0" dirty="0">
                <a:ln>
                  <a:noFill/>
                </a:ln>
                <a:solidFill>
                  <a:srgbClr val="000000"/>
                </a:solidFill>
                <a:effectLst/>
                <a:uLnTx/>
                <a:uFillTx/>
                <a:latin typeface="Graphik" panose="020B0503030202060203" pitchFamily="34" charset="0"/>
                <a:ea typeface="+mn-ea"/>
                <a:cs typeface="Calibri"/>
              </a:rPr>
              <a:t>to help shape the discussions with the client on</a:t>
            </a:r>
            <a:r>
              <a:rPr kumimoji="0" lang="en-GB" sz="1100" b="0" i="0" u="none" strike="noStrike" kern="1200" cap="none" spc="0" normalizeH="0" baseline="0" noProof="0" dirty="0">
                <a:ln>
                  <a:noFill/>
                </a:ln>
                <a:solidFill>
                  <a:srgbClr val="008BBF"/>
                </a:solidFill>
                <a:effectLst/>
                <a:uLnTx/>
                <a:uFillTx/>
                <a:latin typeface="Graphik" panose="020B0503030202060203" pitchFamily="34" charset="0"/>
                <a:ea typeface="+mn-ea"/>
                <a:cs typeface="Calibri"/>
              </a:rPr>
              <a:t> </a:t>
            </a:r>
            <a:r>
              <a:rPr kumimoji="0" lang="en-GB" sz="1100" b="0" i="0" u="none" strike="noStrike" kern="1200" cap="none" spc="0" normalizeH="0" baseline="0" noProof="0" dirty="0">
                <a:ln>
                  <a:noFill/>
                </a:ln>
                <a:solidFill>
                  <a:srgbClr val="000000"/>
                </a:solidFill>
                <a:effectLst/>
                <a:uLnTx/>
                <a:uFillTx/>
                <a:latin typeface="Graphik" panose="020B0503030202060203" pitchFamily="34" charset="0"/>
                <a:ea typeface="+mn-ea"/>
                <a:cs typeface="Calibri"/>
              </a:rPr>
              <a:t>enabling digital business with modern architecture</a:t>
            </a:r>
            <a:endParaRPr kumimoji="0" lang="en-US" sz="1100" b="0" i="0" u="none" strike="noStrike" kern="1200" cap="none" spc="0" normalizeH="0" baseline="0" noProof="0" dirty="0">
              <a:ln>
                <a:noFill/>
              </a:ln>
              <a:solidFill>
                <a:srgbClr val="000000"/>
              </a:solidFill>
              <a:effectLst/>
              <a:uLnTx/>
              <a:uFillTx/>
              <a:latin typeface="Graphik" panose="020B0503030202060203" pitchFamily="34" charset="0"/>
              <a:ea typeface="+mn-ea"/>
              <a:cs typeface="Calibri"/>
            </a:endParaRPr>
          </a:p>
        </p:txBody>
      </p:sp>
      <p:sp>
        <p:nvSpPr>
          <p:cNvPr id="52" name="Rectangle 51">
            <a:extLst>
              <a:ext uri="{FF2B5EF4-FFF2-40B4-BE49-F238E27FC236}">
                <a16:creationId xmlns:a16="http://schemas.microsoft.com/office/drawing/2014/main" id="{CB860835-C446-467E-89F9-95AB3016DFAA}"/>
              </a:ext>
            </a:extLst>
          </p:cNvPr>
          <p:cNvSpPr/>
          <p:nvPr/>
        </p:nvSpPr>
        <p:spPr>
          <a:xfrm>
            <a:off x="2851381" y="1305503"/>
            <a:ext cx="1980000" cy="4798414"/>
          </a:xfrm>
          <a:prstGeom prst="rect">
            <a:avLst/>
          </a:prstGeom>
          <a:solidFill>
            <a:srgbClr val="F2E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3" name="Rectangle 4">
            <a:extLst>
              <a:ext uri="{FF2B5EF4-FFF2-40B4-BE49-F238E27FC236}">
                <a16:creationId xmlns:a16="http://schemas.microsoft.com/office/drawing/2014/main" id="{2E529FCB-A77D-4DEC-A0D1-A619AEB5EE40}"/>
              </a:ext>
            </a:extLst>
          </p:cNvPr>
          <p:cNvSpPr>
            <a:spLocks noChangeArrowheads="1"/>
          </p:cNvSpPr>
          <p:nvPr>
            <p:custDataLst>
              <p:tags r:id="rId2"/>
            </p:custDataLst>
          </p:nvPr>
        </p:nvSpPr>
        <p:spPr bwMode="auto">
          <a:xfrm>
            <a:off x="2851381" y="1305504"/>
            <a:ext cx="1980000" cy="404542"/>
          </a:xfrm>
          <a:prstGeom prst="rect">
            <a:avLst/>
          </a:prstGeom>
          <a:solidFill>
            <a:schemeClr val="accent1"/>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sz="1200" b="1">
                <a:solidFill>
                  <a:srgbClr val="FFFFFF"/>
                </a:solidFill>
                <a:latin typeface="Graphik"/>
              </a:rPr>
              <a:t>CHAPTER 2</a:t>
            </a:r>
          </a:p>
        </p:txBody>
      </p:sp>
      <p:sp>
        <p:nvSpPr>
          <p:cNvPr id="54" name="Content Placeholder 4">
            <a:extLst>
              <a:ext uri="{FF2B5EF4-FFF2-40B4-BE49-F238E27FC236}">
                <a16:creationId xmlns:a16="http://schemas.microsoft.com/office/drawing/2014/main" id="{8675D32F-2295-4848-B0C7-ED2257643A59}"/>
              </a:ext>
            </a:extLst>
          </p:cNvPr>
          <p:cNvSpPr txBox="1">
            <a:spLocks/>
          </p:cNvSpPr>
          <p:nvPr/>
        </p:nvSpPr>
        <p:spPr>
          <a:xfrm>
            <a:off x="3045667" y="3653644"/>
            <a:ext cx="1584000" cy="1396713"/>
          </a:xfrm>
          <a:prstGeom prst="rect">
            <a:avLst/>
          </a:prstGeom>
        </p:spPr>
        <p:txBody>
          <a:bodyPr vert="horz" lIns="72000" tIns="36000" rIns="72000" bIns="36000" rtlCol="0">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632163"/>
              </a:buClr>
              <a:buSzTx/>
              <a:buFont typeface="Arial"/>
              <a:buNone/>
              <a:tabLst/>
              <a:defRPr/>
            </a:pPr>
            <a:r>
              <a:rPr kumimoji="0" lang="en-GB"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Deep dive on </a:t>
            </a:r>
            <a:r>
              <a:rPr kumimoji="0" lang="en-GB" sz="1100" b="0" i="0" u="none" strike="noStrike" kern="1200" cap="none" spc="0" normalizeH="0" baseline="0" noProof="0">
                <a:ln>
                  <a:noFill/>
                </a:ln>
                <a:solidFill>
                  <a:srgbClr val="7500C0"/>
                </a:solidFill>
                <a:effectLst/>
                <a:uLnTx/>
                <a:uFillTx/>
                <a:latin typeface="Graphik" panose="020B0503030202060203" pitchFamily="34" charset="0"/>
                <a:ea typeface="+mn-ea"/>
                <a:cs typeface="Calibri"/>
              </a:rPr>
              <a:t>Technology Trends, implication on Application Architecture and Data/ Analytics trends </a:t>
            </a:r>
            <a:r>
              <a:rPr kumimoji="0" lang="en-GB"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shaping how organisations are driving drive business value</a:t>
            </a:r>
            <a:endPar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endParaRPr>
          </a:p>
        </p:txBody>
      </p:sp>
      <p:pic>
        <p:nvPicPr>
          <p:cNvPr id="55" name="Picture 54">
            <a:extLst>
              <a:ext uri="{FF2B5EF4-FFF2-40B4-BE49-F238E27FC236}">
                <a16:creationId xmlns:a16="http://schemas.microsoft.com/office/drawing/2014/main" id="{61E2EE00-0EC7-4136-8EE7-CB98C631B1EB}"/>
              </a:ext>
            </a:extLst>
          </p:cNvPr>
          <p:cNvPicPr>
            <a:picLocks noChangeAspect="1"/>
          </p:cNvPicPr>
          <p:nvPr/>
        </p:nvPicPr>
        <p:blipFill>
          <a:blip r:embed="rId16">
            <a:duotone>
              <a:schemeClr val="accent1">
                <a:shade val="45000"/>
                <a:satMod val="135000"/>
              </a:schemeClr>
              <a:prstClr val="white"/>
            </a:duotone>
          </a:blip>
          <a:stretch>
            <a:fillRect/>
          </a:stretch>
        </p:blipFill>
        <p:spPr>
          <a:xfrm>
            <a:off x="3045667" y="2629799"/>
            <a:ext cx="1584000" cy="891001"/>
          </a:xfrm>
          <a:prstGeom prst="rect">
            <a:avLst/>
          </a:prstGeom>
          <a:ln>
            <a:solidFill>
              <a:srgbClr val="A100FF"/>
            </a:solidFill>
          </a:ln>
        </p:spPr>
      </p:pic>
      <p:sp>
        <p:nvSpPr>
          <p:cNvPr id="56" name="Rectangle 55">
            <a:extLst>
              <a:ext uri="{FF2B5EF4-FFF2-40B4-BE49-F238E27FC236}">
                <a16:creationId xmlns:a16="http://schemas.microsoft.com/office/drawing/2014/main" id="{E8B7ABEC-2FB2-4708-B2FE-10C4AE09A414}"/>
              </a:ext>
            </a:extLst>
          </p:cNvPr>
          <p:cNvSpPr/>
          <p:nvPr/>
        </p:nvSpPr>
        <p:spPr>
          <a:xfrm>
            <a:off x="5007438" y="1305503"/>
            <a:ext cx="1980000" cy="4798414"/>
          </a:xfrm>
          <a:prstGeom prst="rect">
            <a:avLst/>
          </a:prstGeom>
          <a:solidFill>
            <a:srgbClr val="F2E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raphik"/>
              <a:ea typeface="+mn-ea"/>
              <a:cs typeface="+mn-cs"/>
            </a:endParaRPr>
          </a:p>
        </p:txBody>
      </p:sp>
      <p:sp>
        <p:nvSpPr>
          <p:cNvPr id="57" name="Rectangle 4">
            <a:extLst>
              <a:ext uri="{FF2B5EF4-FFF2-40B4-BE49-F238E27FC236}">
                <a16:creationId xmlns:a16="http://schemas.microsoft.com/office/drawing/2014/main" id="{6DA468B4-E52C-4FB3-9DE1-52B08010397A}"/>
              </a:ext>
            </a:extLst>
          </p:cNvPr>
          <p:cNvSpPr>
            <a:spLocks noChangeArrowheads="1"/>
          </p:cNvSpPr>
          <p:nvPr>
            <p:custDataLst>
              <p:tags r:id="rId3"/>
            </p:custDataLst>
          </p:nvPr>
        </p:nvSpPr>
        <p:spPr bwMode="auto">
          <a:xfrm>
            <a:off x="5007438" y="1305506"/>
            <a:ext cx="1980000" cy="404542"/>
          </a:xfrm>
          <a:prstGeom prst="rect">
            <a:avLst/>
          </a:prstGeom>
          <a:solidFill>
            <a:schemeClr val="accent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sz="1200" b="1">
                <a:solidFill>
                  <a:srgbClr val="FFFFFF"/>
                </a:solidFill>
                <a:latin typeface="Graphik"/>
              </a:rPr>
              <a:t>CHAPTER 3</a:t>
            </a:r>
          </a:p>
        </p:txBody>
      </p:sp>
      <p:sp>
        <p:nvSpPr>
          <p:cNvPr id="58" name="Content Placeholder 4">
            <a:extLst>
              <a:ext uri="{FF2B5EF4-FFF2-40B4-BE49-F238E27FC236}">
                <a16:creationId xmlns:a16="http://schemas.microsoft.com/office/drawing/2014/main" id="{0C82B742-6219-46A9-8ADA-9B7305FC544F}"/>
              </a:ext>
            </a:extLst>
          </p:cNvPr>
          <p:cNvSpPr txBox="1">
            <a:spLocks/>
          </p:cNvSpPr>
          <p:nvPr/>
        </p:nvSpPr>
        <p:spPr>
          <a:xfrm>
            <a:off x="5205834" y="3650744"/>
            <a:ext cx="1584001" cy="1447044"/>
          </a:xfrm>
          <a:prstGeom prst="rect">
            <a:avLst/>
          </a:prstGeom>
        </p:spPr>
        <p:txBody>
          <a:bodyPr vert="horz" lIns="72000" tIns="36000" rIns="72000" bIns="36000" rtlCol="0">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1087106" rtl="0" eaLnBrk="1" fontAlgn="auto" latinLnBrk="0" hangingPunct="1">
              <a:lnSpc>
                <a:spcPct val="100000"/>
              </a:lnSpc>
              <a:spcBef>
                <a:spcPct val="20000"/>
              </a:spcBef>
              <a:spcAft>
                <a:spcPts val="0"/>
              </a:spcAft>
              <a:buClr>
                <a:srgbClr val="632163"/>
              </a:buClr>
              <a:buSzTx/>
              <a:buFont typeface="Arial"/>
              <a:buNone/>
              <a:tabLst/>
              <a:defRPr/>
            </a:pPr>
            <a:r>
              <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Refreshed </a:t>
            </a:r>
            <a:r>
              <a:rPr kumimoji="0" lang="en-US" sz="1100" b="0" i="0" u="none" strike="noStrike" kern="1200" cap="none" spc="0" normalizeH="0" baseline="0" noProof="0">
                <a:ln>
                  <a:noFill/>
                </a:ln>
                <a:solidFill>
                  <a:srgbClr val="7500C0"/>
                </a:solidFill>
                <a:effectLst/>
                <a:uLnTx/>
                <a:uFillTx/>
                <a:latin typeface="Graphik" panose="020B0503030202060203" pitchFamily="34" charset="0"/>
                <a:ea typeface="+mn-ea"/>
                <a:cs typeface="Calibri"/>
              </a:rPr>
              <a:t>Architecture Framework, Data Architecture </a:t>
            </a:r>
            <a:r>
              <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to support data driven enterprises and extension into non-traditional capabilities to support new business models. Set of </a:t>
            </a:r>
            <a:r>
              <a:rPr kumimoji="0" lang="en-US" sz="1100" b="0" i="0" u="none" strike="noStrike" kern="1200" cap="none" spc="0" normalizeH="0" baseline="0" noProof="0">
                <a:ln>
                  <a:noFill/>
                </a:ln>
                <a:solidFill>
                  <a:srgbClr val="7500C0"/>
                </a:solidFill>
                <a:effectLst/>
                <a:uLnTx/>
                <a:uFillTx/>
                <a:latin typeface="Graphik" panose="020B0503030202060203" pitchFamily="34" charset="0"/>
                <a:ea typeface="+mn-ea"/>
                <a:cs typeface="Calibri"/>
              </a:rPr>
              <a:t>architectural principles </a:t>
            </a:r>
            <a:r>
              <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to guide practitioners. </a:t>
            </a:r>
          </a:p>
        </p:txBody>
      </p:sp>
      <p:pic>
        <p:nvPicPr>
          <p:cNvPr id="59" name="Picture 6" descr="Graphical user interface, text, application&#10;&#10;Description automatically generated">
            <a:extLst>
              <a:ext uri="{FF2B5EF4-FFF2-40B4-BE49-F238E27FC236}">
                <a16:creationId xmlns:a16="http://schemas.microsoft.com/office/drawing/2014/main" id="{06A8A788-FA1D-423E-823D-75D172F31146}"/>
              </a:ext>
            </a:extLst>
          </p:cNvPr>
          <p:cNvPicPr>
            <a:picLocks noChangeAspect="1"/>
          </p:cNvPicPr>
          <p:nvPr/>
        </p:nvPicPr>
        <p:blipFill>
          <a:blip r:embed="rId17">
            <a:duotone>
              <a:schemeClr val="accent1">
                <a:shade val="45000"/>
                <a:satMod val="135000"/>
              </a:schemeClr>
              <a:prstClr val="white"/>
            </a:duotone>
          </a:blip>
          <a:stretch>
            <a:fillRect/>
          </a:stretch>
        </p:blipFill>
        <p:spPr>
          <a:xfrm>
            <a:off x="5205835" y="2629798"/>
            <a:ext cx="1584000" cy="883477"/>
          </a:xfrm>
          <a:prstGeom prst="rect">
            <a:avLst/>
          </a:prstGeom>
          <a:ln>
            <a:solidFill>
              <a:srgbClr val="A100FF"/>
            </a:solidFill>
          </a:ln>
        </p:spPr>
      </p:pic>
      <p:sp>
        <p:nvSpPr>
          <p:cNvPr id="60" name="Content Placeholder 4">
            <a:extLst>
              <a:ext uri="{FF2B5EF4-FFF2-40B4-BE49-F238E27FC236}">
                <a16:creationId xmlns:a16="http://schemas.microsoft.com/office/drawing/2014/main" id="{707548D1-4AE5-4F62-B969-ADC64A02FA49}"/>
              </a:ext>
            </a:extLst>
          </p:cNvPr>
          <p:cNvSpPr txBox="1">
            <a:spLocks/>
          </p:cNvSpPr>
          <p:nvPr/>
        </p:nvSpPr>
        <p:spPr>
          <a:xfrm>
            <a:off x="7369167" y="3650744"/>
            <a:ext cx="1584000" cy="1668500"/>
          </a:xfrm>
          <a:prstGeom prst="rect">
            <a:avLst/>
          </a:prstGeom>
        </p:spPr>
        <p:txBody>
          <a:bodyPr vert="horz" lIns="72000" tIns="36000" rIns="72000" bIns="36000" rtlCol="0">
            <a:noAutofit/>
          </a:bodyPr>
          <a:lstStyle>
            <a:defPPr>
              <a:defRPr lang="en-US"/>
            </a:defPPr>
            <a:lvl1pPr indent="0" defTabSz="457200">
              <a:spcBef>
                <a:spcPct val="20000"/>
              </a:spcBef>
              <a:buClr>
                <a:srgbClr val="632163"/>
              </a:buClr>
              <a:buFont typeface="Arial"/>
              <a:buNone/>
              <a:defRPr sz="1200">
                <a:solidFill>
                  <a:srgbClr val="404040"/>
                </a:solidFill>
                <a:cs typeface="Calibri"/>
              </a:defRPr>
            </a:lvl1pPr>
            <a:lvl2pPr marL="742950" indent="-285750" defTabSz="457200">
              <a:spcBef>
                <a:spcPct val="20000"/>
              </a:spcBef>
              <a:buFont typeface="Arial"/>
              <a:buChar char="–"/>
              <a:defRPr sz="1600"/>
            </a:lvl2pPr>
            <a:lvl3pPr marL="1143000" indent="-228600" defTabSz="457200">
              <a:spcBef>
                <a:spcPct val="20000"/>
              </a:spcBef>
              <a:buFont typeface="Arial"/>
              <a:buChar char="•"/>
              <a:defRPr sz="1400"/>
            </a:lvl3pPr>
            <a:lvl4pPr marL="1600200" indent="-228600" defTabSz="457200">
              <a:spcBef>
                <a:spcPct val="20000"/>
              </a:spcBef>
              <a:buFont typeface="Arial"/>
              <a:buChar char="–"/>
              <a:defRPr sz="1400"/>
            </a:lvl4pPr>
            <a:lvl5pPr marL="2057400" indent="-228600" defTabSz="457200">
              <a:spcBef>
                <a:spcPct val="20000"/>
              </a:spcBef>
              <a:buFont typeface="Arial"/>
              <a:buChar char="»"/>
              <a:defRPr sz="1400"/>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marL="0" marR="0" lvl="0" indent="0" algn="l" defTabSz="457200" rtl="0" eaLnBrk="1" fontAlgn="auto" latinLnBrk="0" hangingPunct="1">
              <a:lnSpc>
                <a:spcPct val="100000"/>
              </a:lnSpc>
              <a:spcBef>
                <a:spcPct val="20000"/>
              </a:spcBef>
              <a:spcAft>
                <a:spcPts val="0"/>
              </a:spcAft>
              <a:buClr>
                <a:srgbClr val="632163"/>
              </a:buClr>
              <a:buSzTx/>
              <a:buFont typeface="Arial"/>
              <a:buNone/>
              <a:tabLst/>
              <a:defRPr/>
            </a:pPr>
            <a:r>
              <a:rPr kumimoji="0" lang="en-US" sz="1100" b="0" i="0" u="none" strike="noStrike" kern="1200" cap="none" spc="0" normalizeH="0" baseline="0" noProof="0">
                <a:ln>
                  <a:noFill/>
                </a:ln>
                <a:solidFill>
                  <a:srgbClr val="7500C0"/>
                </a:solidFill>
                <a:effectLst/>
                <a:uLnTx/>
                <a:uFillTx/>
                <a:latin typeface="Graphik" panose="020B0503030202060203" pitchFamily="34" charset="0"/>
                <a:ea typeface="+mn-ea"/>
                <a:cs typeface="Calibri"/>
              </a:rPr>
              <a:t>An overlay of Accenture’s ecosystem partners</a:t>
            </a:r>
            <a:r>
              <a:rPr kumimoji="0" lang="en-US" sz="1100" b="0" i="0" u="none" strike="noStrike" kern="1200" cap="none" spc="0" normalizeH="0" baseline="0" noProof="0">
                <a:ln>
                  <a:noFill/>
                </a:ln>
                <a:solidFill>
                  <a:srgbClr val="000000"/>
                </a:solidFill>
                <a:effectLst/>
                <a:uLnTx/>
                <a:uFillTx/>
                <a:latin typeface="Graphik"/>
                <a:ea typeface="+mn-ea"/>
                <a:cs typeface="Calibri"/>
              </a:rPr>
              <a:t> to the industry/functional/ technical reference architecture </a:t>
            </a:r>
            <a:r>
              <a:rPr kumimoji="0" lang="en-GB" sz="1100" b="0" i="0" u="none" strike="noStrike" kern="1200" cap="none" spc="0" normalizeH="0" baseline="0" noProof="0">
                <a:ln>
                  <a:noFill/>
                </a:ln>
                <a:solidFill>
                  <a:srgbClr val="000000"/>
                </a:solidFill>
                <a:effectLst/>
                <a:uLnTx/>
                <a:uFillTx/>
                <a:latin typeface="Graphik"/>
                <a:ea typeface="+mn-ea"/>
                <a:cs typeface="Calibri"/>
              </a:rPr>
              <a:t>campaigns, offerings, and assets.</a:t>
            </a:r>
            <a:endPar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endParaRPr>
          </a:p>
        </p:txBody>
      </p:sp>
      <p:sp>
        <p:nvSpPr>
          <p:cNvPr id="61" name="Rectangle 4">
            <a:extLst>
              <a:ext uri="{FF2B5EF4-FFF2-40B4-BE49-F238E27FC236}">
                <a16:creationId xmlns:a16="http://schemas.microsoft.com/office/drawing/2014/main" id="{35C621EB-E85E-478D-8CDD-A2401FFE1F80}"/>
              </a:ext>
            </a:extLst>
          </p:cNvPr>
          <p:cNvSpPr>
            <a:spLocks noChangeArrowheads="1"/>
          </p:cNvSpPr>
          <p:nvPr>
            <p:custDataLst>
              <p:tags r:id="rId4"/>
            </p:custDataLst>
          </p:nvPr>
        </p:nvSpPr>
        <p:spPr bwMode="auto">
          <a:xfrm>
            <a:off x="7163495" y="1305504"/>
            <a:ext cx="1980000" cy="404542"/>
          </a:xfrm>
          <a:prstGeom prst="rect">
            <a:avLst/>
          </a:prstGeom>
          <a:solidFill>
            <a:schemeClr val="accent3"/>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sz="1200" b="1">
                <a:solidFill>
                  <a:srgbClr val="FFFFFF"/>
                </a:solidFill>
                <a:latin typeface="Graphik"/>
              </a:rPr>
              <a:t>*CHAPTER 4</a:t>
            </a:r>
          </a:p>
        </p:txBody>
      </p:sp>
      <p:sp>
        <p:nvSpPr>
          <p:cNvPr id="62" name="Rectangle 4">
            <a:extLst>
              <a:ext uri="{FF2B5EF4-FFF2-40B4-BE49-F238E27FC236}">
                <a16:creationId xmlns:a16="http://schemas.microsoft.com/office/drawing/2014/main" id="{51E51994-A855-423C-A63F-68DCCBAEC57D}"/>
              </a:ext>
            </a:extLst>
          </p:cNvPr>
          <p:cNvSpPr>
            <a:spLocks noChangeArrowheads="1"/>
          </p:cNvSpPr>
          <p:nvPr>
            <p:custDataLst>
              <p:tags r:id="rId5"/>
            </p:custDataLst>
          </p:nvPr>
        </p:nvSpPr>
        <p:spPr bwMode="auto">
          <a:xfrm>
            <a:off x="9319551" y="1305505"/>
            <a:ext cx="1980000" cy="404541"/>
          </a:xfrm>
          <a:prstGeom prst="rect">
            <a:avLst/>
          </a:prstGeom>
          <a:solidFill>
            <a:schemeClr val="accent4"/>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GB" sz="1200" b="1">
                <a:solidFill>
                  <a:srgbClr val="FFFFFF"/>
                </a:solidFill>
                <a:latin typeface="Graphik"/>
              </a:rPr>
              <a:t>*CHAPTER 5</a:t>
            </a:r>
          </a:p>
        </p:txBody>
      </p:sp>
      <p:sp>
        <p:nvSpPr>
          <p:cNvPr id="63" name="Content Placeholder 4">
            <a:extLst>
              <a:ext uri="{FF2B5EF4-FFF2-40B4-BE49-F238E27FC236}">
                <a16:creationId xmlns:a16="http://schemas.microsoft.com/office/drawing/2014/main" id="{524CB239-64BD-4C11-B1DD-2BF422F4333C}"/>
              </a:ext>
            </a:extLst>
          </p:cNvPr>
          <p:cNvSpPr txBox="1">
            <a:spLocks/>
          </p:cNvSpPr>
          <p:nvPr/>
        </p:nvSpPr>
        <p:spPr>
          <a:xfrm>
            <a:off x="9513007" y="3650744"/>
            <a:ext cx="1584000" cy="1391868"/>
          </a:xfrm>
          <a:prstGeom prst="rect">
            <a:avLst/>
          </a:prstGeom>
        </p:spPr>
        <p:txBody>
          <a:bodyPr vert="horz" lIns="72000" tIns="36000" rIns="72000" bIns="36000" rtlCol="0">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632163"/>
              </a:buClr>
              <a:buSzTx/>
              <a:buFont typeface="Arial"/>
              <a:buNone/>
              <a:tabLst/>
              <a:defRPr/>
            </a:pPr>
            <a:r>
              <a:rPr kumimoji="0" lang="en-GB" sz="1100" b="0" i="0" u="none" strike="noStrike" kern="1200" cap="none" spc="0" normalizeH="0" baseline="0" noProof="0">
                <a:ln>
                  <a:noFill/>
                </a:ln>
                <a:solidFill>
                  <a:srgbClr val="7500C0"/>
                </a:solidFill>
                <a:effectLst/>
                <a:uLnTx/>
                <a:uFillTx/>
                <a:latin typeface="Graphik" panose="020B0503030202060203" pitchFamily="34" charset="0"/>
                <a:ea typeface="+mn-ea"/>
                <a:cs typeface="Calibri"/>
              </a:rPr>
              <a:t>An overlay of Accenture’s internal tools </a:t>
            </a:r>
            <a:r>
              <a:rPr kumimoji="0" lang="en-GB"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rPr>
              <a:t>that support transformational solutions for clients mapped to the capabilities in the model.  </a:t>
            </a:r>
            <a:endParaRPr kumimoji="0" lang="en-US" sz="1100" b="0" i="0" u="none" strike="noStrike" kern="1200" cap="none" spc="0" normalizeH="0" baseline="0" noProof="0">
              <a:ln>
                <a:noFill/>
              </a:ln>
              <a:solidFill>
                <a:prstClr val="black"/>
              </a:solidFill>
              <a:effectLst/>
              <a:uLnTx/>
              <a:uFillTx/>
              <a:latin typeface="Graphik" panose="020B0503030202060203" pitchFamily="34" charset="0"/>
              <a:ea typeface="+mn-ea"/>
              <a:cs typeface="Calibri"/>
            </a:endParaRPr>
          </a:p>
        </p:txBody>
      </p:sp>
      <p:sp>
        <p:nvSpPr>
          <p:cNvPr id="64" name="Rectangle 4">
            <a:extLst>
              <a:ext uri="{FF2B5EF4-FFF2-40B4-BE49-F238E27FC236}">
                <a16:creationId xmlns:a16="http://schemas.microsoft.com/office/drawing/2014/main" id="{D4547FF0-D15A-4FCC-8404-66E589AE919F}"/>
              </a:ext>
            </a:extLst>
          </p:cNvPr>
          <p:cNvSpPr>
            <a:spLocks noChangeArrowheads="1"/>
          </p:cNvSpPr>
          <p:nvPr>
            <p:custDataLst>
              <p:tags r:id="rId6"/>
            </p:custDataLst>
          </p:nvPr>
        </p:nvSpPr>
        <p:spPr bwMode="auto">
          <a:xfrm>
            <a:off x="716392" y="1728046"/>
            <a:ext cx="1980000" cy="916839"/>
          </a:xfrm>
          <a:prstGeom prst="rect">
            <a:avLst/>
          </a:prstGeom>
          <a:noFill/>
          <a:ln w="9525" algn="ctr">
            <a:noFill/>
            <a:miter lim="800000"/>
            <a:headEnd/>
            <a:tailEnd/>
          </a:ln>
          <a:effectLst/>
        </p:spPr>
        <p:txBody>
          <a:bodyPr lIns="72000" tIns="48000" rIns="36000" bIns="48000" anchor="t">
            <a:noAutofit/>
          </a:bodyPr>
          <a:lstStyle/>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rPr>
              <a:t>NEW IT </a:t>
            </a:r>
          </a:p>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rPr>
              <a:t>CIO AGENDA </a:t>
            </a:r>
          </a:p>
        </p:txBody>
      </p:sp>
      <p:sp>
        <p:nvSpPr>
          <p:cNvPr id="65" name="Rectangle 4">
            <a:extLst>
              <a:ext uri="{FF2B5EF4-FFF2-40B4-BE49-F238E27FC236}">
                <a16:creationId xmlns:a16="http://schemas.microsoft.com/office/drawing/2014/main" id="{249CDFD9-1C25-4E04-A143-8FCB685B66FC}"/>
              </a:ext>
            </a:extLst>
          </p:cNvPr>
          <p:cNvSpPr>
            <a:spLocks noChangeArrowheads="1"/>
          </p:cNvSpPr>
          <p:nvPr>
            <p:custDataLst>
              <p:tags r:id="rId7"/>
            </p:custDataLst>
          </p:nvPr>
        </p:nvSpPr>
        <p:spPr bwMode="auto">
          <a:xfrm>
            <a:off x="2872449" y="1728049"/>
            <a:ext cx="1980000" cy="916839"/>
          </a:xfrm>
          <a:prstGeom prst="rect">
            <a:avLst/>
          </a:prstGeom>
          <a:noFill/>
          <a:ln w="9525" algn="ctr">
            <a:noFill/>
            <a:miter lim="800000"/>
            <a:headEnd/>
            <a:tailEnd/>
          </a:ln>
          <a:effectLst/>
        </p:spPr>
        <p:txBody>
          <a:bodyPr lIns="72000" tIns="48000" rIns="36000" bIns="48000" anchor="t">
            <a:noAutofit/>
          </a:bodyPr>
          <a:lstStyle/>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rPr>
              <a:t>TECHNOLOGY TRENDS</a:t>
            </a:r>
          </a:p>
        </p:txBody>
      </p:sp>
      <p:sp>
        <p:nvSpPr>
          <p:cNvPr id="66" name="Rectangle 4">
            <a:extLst>
              <a:ext uri="{FF2B5EF4-FFF2-40B4-BE49-F238E27FC236}">
                <a16:creationId xmlns:a16="http://schemas.microsoft.com/office/drawing/2014/main" id="{D82B41BF-C80C-417F-9C40-7A3E6F4E4423}"/>
              </a:ext>
            </a:extLst>
          </p:cNvPr>
          <p:cNvSpPr>
            <a:spLocks noChangeArrowheads="1"/>
          </p:cNvSpPr>
          <p:nvPr>
            <p:custDataLst>
              <p:tags r:id="rId8"/>
            </p:custDataLst>
          </p:nvPr>
        </p:nvSpPr>
        <p:spPr bwMode="auto">
          <a:xfrm>
            <a:off x="5028506" y="1728048"/>
            <a:ext cx="1980000" cy="916839"/>
          </a:xfrm>
          <a:prstGeom prst="rect">
            <a:avLst/>
          </a:prstGeom>
          <a:noFill/>
          <a:ln w="9525" algn="ctr">
            <a:noFill/>
            <a:miter lim="800000"/>
            <a:headEnd/>
            <a:tailEnd/>
          </a:ln>
          <a:effectLst/>
        </p:spPr>
        <p:txBody>
          <a:bodyPr lIns="72000" tIns="48000" rIns="36000" bIns="48000" anchor="t">
            <a:noAutofit/>
          </a:bodyPr>
          <a:lstStyle/>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dirty="0">
                <a:ln>
                  <a:noFill/>
                </a:ln>
                <a:solidFill>
                  <a:srgbClr val="7500C0"/>
                </a:solidFill>
                <a:effectLst/>
                <a:uLnTx/>
                <a:uFillTx/>
                <a:latin typeface="Graphik" panose="020B0503030202060203" pitchFamily="34" charset="0"/>
                <a:ea typeface="+mn-ea"/>
                <a:cs typeface="+mn-cs"/>
              </a:rPr>
              <a:t>ARCHITECTURE FRAMEWORK &amp; PRINCIPLES</a:t>
            </a:r>
          </a:p>
        </p:txBody>
      </p:sp>
      <p:sp>
        <p:nvSpPr>
          <p:cNvPr id="67" name="Rectangle 4">
            <a:extLst>
              <a:ext uri="{FF2B5EF4-FFF2-40B4-BE49-F238E27FC236}">
                <a16:creationId xmlns:a16="http://schemas.microsoft.com/office/drawing/2014/main" id="{FBEB3CDA-A750-4B1A-9512-6AFE303E7617}"/>
              </a:ext>
            </a:extLst>
          </p:cNvPr>
          <p:cNvSpPr>
            <a:spLocks noChangeArrowheads="1"/>
          </p:cNvSpPr>
          <p:nvPr>
            <p:custDataLst>
              <p:tags r:id="rId9"/>
            </p:custDataLst>
          </p:nvPr>
        </p:nvSpPr>
        <p:spPr bwMode="auto">
          <a:xfrm>
            <a:off x="7184563" y="1728046"/>
            <a:ext cx="1980000" cy="916839"/>
          </a:xfrm>
          <a:prstGeom prst="rect">
            <a:avLst/>
          </a:prstGeom>
          <a:noFill/>
          <a:ln w="9525" algn="ctr">
            <a:noFill/>
            <a:miter lim="800000"/>
            <a:headEnd/>
            <a:tailEnd/>
          </a:ln>
          <a:effectLst/>
        </p:spPr>
        <p:txBody>
          <a:bodyPr lIns="72000" tIns="48000" rIns="36000" bIns="48000" anchor="t">
            <a:noAutofit/>
          </a:bodyPr>
          <a:lstStyle/>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rPr>
              <a:t>ECOSYSTEM OVERLAY</a:t>
            </a:r>
          </a:p>
          <a:p>
            <a:pPr marL="0" marR="0" lvl="0" indent="0" algn="l" defTabSz="585773" rtl="0" eaLnBrk="0" fontAlgn="auto" latinLnBrk="0" hangingPunct="0">
              <a:lnSpc>
                <a:spcPts val="1707"/>
              </a:lnSpc>
              <a:spcBef>
                <a:spcPts val="0"/>
              </a:spcBef>
              <a:spcAft>
                <a:spcPts val="0"/>
              </a:spcAft>
              <a:buClrTx/>
              <a:buSzTx/>
              <a:buFontTx/>
              <a:buNone/>
              <a:tabLst/>
              <a:defRPr/>
            </a:pPr>
            <a:endPar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endParaRPr>
          </a:p>
        </p:txBody>
      </p:sp>
      <p:sp>
        <p:nvSpPr>
          <p:cNvPr id="68" name="Rectangle 4">
            <a:extLst>
              <a:ext uri="{FF2B5EF4-FFF2-40B4-BE49-F238E27FC236}">
                <a16:creationId xmlns:a16="http://schemas.microsoft.com/office/drawing/2014/main" id="{5D14456A-A4E9-4929-8ABF-BD68F3CFCA2B}"/>
              </a:ext>
            </a:extLst>
          </p:cNvPr>
          <p:cNvSpPr>
            <a:spLocks noChangeArrowheads="1"/>
          </p:cNvSpPr>
          <p:nvPr>
            <p:custDataLst>
              <p:tags r:id="rId10"/>
            </p:custDataLst>
          </p:nvPr>
        </p:nvSpPr>
        <p:spPr bwMode="auto">
          <a:xfrm>
            <a:off x="9340619" y="1728048"/>
            <a:ext cx="1980000" cy="916837"/>
          </a:xfrm>
          <a:prstGeom prst="rect">
            <a:avLst/>
          </a:prstGeom>
          <a:noFill/>
          <a:ln w="9525" algn="ctr">
            <a:noFill/>
            <a:miter lim="800000"/>
            <a:headEnd/>
            <a:tailEnd/>
          </a:ln>
          <a:effectLst/>
        </p:spPr>
        <p:txBody>
          <a:bodyPr lIns="72000" tIns="48000" rIns="36000" bIns="48000" anchor="t">
            <a:noAutofit/>
          </a:bodyPr>
          <a:lstStyle/>
          <a:p>
            <a:pPr marL="0" marR="0" lvl="0" indent="0" algn="l" defTabSz="585773" rtl="0" eaLnBrk="0" fontAlgn="auto" latinLnBrk="0" hangingPunct="0">
              <a:lnSpc>
                <a:spcPts val="1707"/>
              </a:lnSpc>
              <a:spcBef>
                <a:spcPts val="0"/>
              </a:spcBef>
              <a:spcAft>
                <a:spcPts val="0"/>
              </a:spcAft>
              <a:buClrTx/>
              <a:buSzTx/>
              <a:buFontTx/>
              <a:buNone/>
              <a:tabLst/>
              <a:defRPr/>
            </a:pPr>
            <a:r>
              <a:rPr kumimoji="0" lang="en-GB" sz="1500" b="1" i="0" u="none" strike="noStrike" kern="0" cap="none" spc="0" normalizeH="0" baseline="0" noProof="0">
                <a:ln>
                  <a:noFill/>
                </a:ln>
                <a:solidFill>
                  <a:srgbClr val="7500C0"/>
                </a:solidFill>
                <a:effectLst/>
                <a:uLnTx/>
                <a:uFillTx/>
                <a:latin typeface="Graphik" panose="020B0503030202060203" pitchFamily="34" charset="0"/>
                <a:ea typeface="+mn-ea"/>
                <a:cs typeface="+mn-cs"/>
              </a:rPr>
              <a:t>ACCENTURE OVERLAY</a:t>
            </a:r>
          </a:p>
        </p:txBody>
      </p:sp>
      <p:sp>
        <p:nvSpPr>
          <p:cNvPr id="3" name="TextBox 2">
            <a:extLst>
              <a:ext uri="{FF2B5EF4-FFF2-40B4-BE49-F238E27FC236}">
                <a16:creationId xmlns:a16="http://schemas.microsoft.com/office/drawing/2014/main" id="{A58D5744-A31F-4035-8EAA-1180691C0954}"/>
              </a:ext>
            </a:extLst>
          </p:cNvPr>
          <p:cNvSpPr txBox="1"/>
          <p:nvPr/>
        </p:nvSpPr>
        <p:spPr>
          <a:xfrm>
            <a:off x="9712814" y="6150066"/>
            <a:ext cx="1607805" cy="311766"/>
          </a:xfrm>
          <a:prstGeom prst="rect">
            <a:avLst/>
          </a:prstGeom>
          <a:noFill/>
        </p:spPr>
        <p:txBody>
          <a:bodyPr wrap="square" lIns="0" tIns="0" rIns="0" bIns="0" rtlCol="0">
            <a:noAutofit/>
          </a:bodyPr>
          <a:lstStyle/>
          <a:p>
            <a:pPr algn="l" defTabSz="228600">
              <a:spcAft>
                <a:spcPts val="1200"/>
              </a:spcAft>
            </a:pPr>
            <a:r>
              <a:rPr lang="en-US" sz="1200" dirty="0"/>
              <a:t>*Optional Chapters</a:t>
            </a:r>
            <a:endParaRPr lang="en-US" sz="1200" noProof="0" dirty="0"/>
          </a:p>
        </p:txBody>
      </p:sp>
      <p:sp>
        <p:nvSpPr>
          <p:cNvPr id="4" name="Rectangle 3">
            <a:extLst>
              <a:ext uri="{FF2B5EF4-FFF2-40B4-BE49-F238E27FC236}">
                <a16:creationId xmlns:a16="http://schemas.microsoft.com/office/drawing/2014/main" id="{F86553F9-0D93-7783-E44C-99BC6921766E}"/>
              </a:ext>
            </a:extLst>
          </p:cNvPr>
          <p:cNvSpPr/>
          <p:nvPr/>
        </p:nvSpPr>
        <p:spPr>
          <a:xfrm>
            <a:off x="4942115" y="1240971"/>
            <a:ext cx="2155372" cy="4974772"/>
          </a:xfrm>
          <a:prstGeom prst="rect">
            <a:avLst/>
          </a:prstGeom>
          <a:noFill/>
          <a:ln w="28575">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IN" dirty="0" err="1"/>
          </a:p>
        </p:txBody>
      </p:sp>
    </p:spTree>
    <p:extLst>
      <p:ext uri="{BB962C8B-B14F-4D97-AF65-F5344CB8AC3E}">
        <p14:creationId xmlns:p14="http://schemas.microsoft.com/office/powerpoint/2010/main" val="96176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Title 252">
            <a:extLst>
              <a:ext uri="{FF2B5EF4-FFF2-40B4-BE49-F238E27FC236}">
                <a16:creationId xmlns:a16="http://schemas.microsoft.com/office/drawing/2014/main" id="{D67AF855-0EAD-4A54-8C66-0BAAFE47914C}"/>
              </a:ext>
            </a:extLst>
          </p:cNvPr>
          <p:cNvSpPr>
            <a:spLocks noGrp="1"/>
          </p:cNvSpPr>
          <p:nvPr>
            <p:ph type="title"/>
          </p:nvPr>
        </p:nvSpPr>
        <p:spPr/>
        <p:txBody>
          <a:bodyPr/>
          <a:lstStyle/>
          <a:p>
            <a:r>
              <a:rPr lang="en-ZA"/>
              <a:t>Contents</a:t>
            </a:r>
          </a:p>
        </p:txBody>
      </p:sp>
      <p:sp>
        <p:nvSpPr>
          <p:cNvPr id="13" name="Text Placeholder 12">
            <a:extLst>
              <a:ext uri="{FF2B5EF4-FFF2-40B4-BE49-F238E27FC236}">
                <a16:creationId xmlns:a16="http://schemas.microsoft.com/office/drawing/2014/main" id="{7848EDF5-2654-4E40-AE94-C5EEEB63D710}"/>
              </a:ext>
            </a:extLst>
          </p:cNvPr>
          <p:cNvSpPr>
            <a:spLocks noGrp="1"/>
          </p:cNvSpPr>
          <p:nvPr>
            <p:ph type="body" sz="quarter" idx="16"/>
          </p:nvPr>
        </p:nvSpPr>
        <p:spPr>
          <a:xfrm>
            <a:off x="4966971" y="1745805"/>
            <a:ext cx="6844029" cy="246221"/>
          </a:xfrm>
        </p:spPr>
        <p:txBody>
          <a:bodyPr/>
          <a:lstStyle/>
          <a:p>
            <a:pPr lvl="0"/>
            <a:r>
              <a:rPr lang="en-US"/>
              <a:t>Logical Reference Architecture</a:t>
            </a:r>
          </a:p>
        </p:txBody>
      </p:sp>
      <p:sp>
        <p:nvSpPr>
          <p:cNvPr id="14" name="Text Placeholder 13">
            <a:extLst>
              <a:ext uri="{FF2B5EF4-FFF2-40B4-BE49-F238E27FC236}">
                <a16:creationId xmlns:a16="http://schemas.microsoft.com/office/drawing/2014/main" id="{4A329141-5594-4568-B54A-E67F56CB1211}"/>
              </a:ext>
            </a:extLst>
          </p:cNvPr>
          <p:cNvSpPr>
            <a:spLocks noGrp="1"/>
          </p:cNvSpPr>
          <p:nvPr>
            <p:ph type="body" sz="quarter" idx="18"/>
          </p:nvPr>
        </p:nvSpPr>
        <p:spPr>
          <a:xfrm>
            <a:off x="4966971" y="2520196"/>
            <a:ext cx="6844029" cy="184989"/>
          </a:xfrm>
        </p:spPr>
        <p:txBody>
          <a:bodyPr/>
          <a:lstStyle/>
          <a:p>
            <a:r>
              <a:rPr lang="en-ZA"/>
              <a:t>Market Leading Software and Platforms</a:t>
            </a:r>
          </a:p>
        </p:txBody>
      </p:sp>
      <p:sp>
        <p:nvSpPr>
          <p:cNvPr id="51" name="Text Placeholder 50">
            <a:extLst>
              <a:ext uri="{FF2B5EF4-FFF2-40B4-BE49-F238E27FC236}">
                <a16:creationId xmlns:a16="http://schemas.microsoft.com/office/drawing/2014/main" id="{1BCBE8FE-3EBC-416D-8B68-ECCBA15357F2}"/>
              </a:ext>
            </a:extLst>
          </p:cNvPr>
          <p:cNvSpPr>
            <a:spLocks noGrp="1"/>
          </p:cNvSpPr>
          <p:nvPr>
            <p:ph type="body" sz="quarter" idx="31"/>
          </p:nvPr>
        </p:nvSpPr>
        <p:spPr>
          <a:xfrm>
            <a:off x="4426242" y="1626246"/>
            <a:ext cx="405128" cy="485340"/>
          </a:xfrm>
        </p:spPr>
        <p:txBody>
          <a:bodyPr/>
          <a:lstStyle/>
          <a:p>
            <a:r>
              <a:rPr lang="en-ZA"/>
              <a:t>01.</a:t>
            </a:r>
          </a:p>
        </p:txBody>
      </p:sp>
      <p:sp>
        <p:nvSpPr>
          <p:cNvPr id="256" name="Text Placeholder 255">
            <a:extLst>
              <a:ext uri="{FF2B5EF4-FFF2-40B4-BE49-F238E27FC236}">
                <a16:creationId xmlns:a16="http://schemas.microsoft.com/office/drawing/2014/main" id="{C1404DEE-44ED-446C-8FB8-9840BF4052E6}"/>
              </a:ext>
            </a:extLst>
          </p:cNvPr>
          <p:cNvSpPr>
            <a:spLocks noGrp="1"/>
          </p:cNvSpPr>
          <p:nvPr>
            <p:ph type="body" sz="quarter" idx="32"/>
          </p:nvPr>
        </p:nvSpPr>
        <p:spPr>
          <a:xfrm>
            <a:off x="4426242" y="2430370"/>
            <a:ext cx="405128" cy="364643"/>
          </a:xfrm>
        </p:spPr>
        <p:txBody>
          <a:bodyPr/>
          <a:lstStyle/>
          <a:p>
            <a:r>
              <a:rPr lang="en-ZA"/>
              <a:t>02.</a:t>
            </a:r>
          </a:p>
        </p:txBody>
      </p:sp>
      <p:pic>
        <p:nvPicPr>
          <p:cNvPr id="327" name="Picture 326">
            <a:extLst>
              <a:ext uri="{FF2B5EF4-FFF2-40B4-BE49-F238E27FC236}">
                <a16:creationId xmlns:a16="http://schemas.microsoft.com/office/drawing/2014/main" id="{83FEBF87-8ECB-4CEA-AFE1-2395002AC01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5" y="3186234"/>
            <a:ext cx="12189630" cy="3671766"/>
          </a:xfrm>
          <a:prstGeom prst="rect">
            <a:avLst/>
          </a:prstGeom>
        </p:spPr>
      </p:pic>
      <p:pic>
        <p:nvPicPr>
          <p:cNvPr id="329" name="Picture 328">
            <a:extLst>
              <a:ext uri="{FF2B5EF4-FFF2-40B4-BE49-F238E27FC236}">
                <a16:creationId xmlns:a16="http://schemas.microsoft.com/office/drawing/2014/main" id="{62C5B7ED-40F5-44D1-B541-C71FE055FC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85" y="-1"/>
            <a:ext cx="12189630" cy="1092675"/>
          </a:xfrm>
          <a:prstGeom prst="rect">
            <a:avLst/>
          </a:prstGeom>
        </p:spPr>
      </p:pic>
      <p:cxnSp>
        <p:nvCxnSpPr>
          <p:cNvPr id="330" name="Straight Connector 329">
            <a:extLst>
              <a:ext uri="{FF2B5EF4-FFF2-40B4-BE49-F238E27FC236}">
                <a16:creationId xmlns:a16="http://schemas.microsoft.com/office/drawing/2014/main" id="{E49087F2-B40C-43D3-A192-5D1F7062A5B7}"/>
              </a:ext>
            </a:extLst>
          </p:cNvPr>
          <p:cNvCxnSpPr>
            <a:cxnSpLocks/>
          </p:cNvCxnSpPr>
          <p:nvPr/>
        </p:nvCxnSpPr>
        <p:spPr>
          <a:xfrm>
            <a:off x="4045241" y="1371600"/>
            <a:ext cx="0" cy="16950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B3A737E0-0BCC-4E86-9B63-8F8C9396151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17890" y="4110802"/>
            <a:ext cx="3330891" cy="2009054"/>
          </a:xfrm>
          <a:prstGeom prst="rect">
            <a:avLst/>
          </a:prstGeom>
        </p:spPr>
      </p:pic>
      <p:pic>
        <p:nvPicPr>
          <p:cNvPr id="19" name="Picture 18">
            <a:extLst>
              <a:ext uri="{FF2B5EF4-FFF2-40B4-BE49-F238E27FC236}">
                <a16:creationId xmlns:a16="http://schemas.microsoft.com/office/drawing/2014/main" id="{28984FD7-136E-413F-B67B-A7A17664CEB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20" name="TextBox 19">
            <a:extLst>
              <a:ext uri="{FF2B5EF4-FFF2-40B4-BE49-F238E27FC236}">
                <a16:creationId xmlns:a16="http://schemas.microsoft.com/office/drawing/2014/main" id="{18D7E80D-A4C0-4F4D-ACE6-D234C9FC98F3}"/>
              </a:ext>
            </a:extLst>
          </p:cNvPr>
          <p:cNvSpPr txBox="1"/>
          <p:nvPr/>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0" cap="none" spc="0" normalizeH="0" baseline="0" noProof="0" dirty="0">
                <a:ln>
                  <a:noFill/>
                </a:ln>
                <a:solidFill>
                  <a:srgbClr val="FFFFFF">
                    <a:alpha val="75000"/>
                  </a:srgbClr>
                </a:solidFill>
                <a:effectLst/>
                <a:uLnTx/>
                <a:uFillTx/>
                <a:latin typeface="Graphik"/>
                <a:ea typeface="+mn-ea"/>
                <a:cs typeface="+mn-cs"/>
              </a:rPr>
              <a:t>Copyright © 2022 Accenture. All rights reserved.</a:t>
            </a:r>
            <a:endParaRPr kumimoji="0" lang="en-US" sz="1800" b="0" i="0" u="none" strike="noStrike" kern="0" cap="none" spc="0" normalizeH="0" baseline="0" noProof="0" dirty="0">
              <a:ln>
                <a:noFill/>
              </a:ln>
              <a:solidFill>
                <a:srgbClr val="FFFFFF">
                  <a:alpha val="75000"/>
                </a:srgbClr>
              </a:solidFill>
              <a:effectLst/>
              <a:uLnTx/>
              <a:uFillTx/>
              <a:latin typeface="Graphik"/>
              <a:ea typeface="+mn-ea"/>
              <a:cs typeface="+mn-cs"/>
            </a:endParaRPr>
          </a:p>
        </p:txBody>
      </p:sp>
      <p:sp>
        <p:nvSpPr>
          <p:cNvPr id="21" name="TextBox 20">
            <a:extLst>
              <a:ext uri="{FF2B5EF4-FFF2-40B4-BE49-F238E27FC236}">
                <a16:creationId xmlns:a16="http://schemas.microsoft.com/office/drawing/2014/main" id="{2C335D6E-2B94-479C-85C6-F67F53F486DF}"/>
              </a:ext>
            </a:extLst>
          </p:cNvPr>
          <p:cNvSpPr txBox="1"/>
          <p:nvPr/>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latin typeface="Graphik"/>
                <a:ea typeface="+mn-ea"/>
                <a:cs typeface="+mn-cs"/>
              </a:rPr>
              <a:pPr marL="0" marR="0" lvl="0" indent="0" algn="r" defTabSz="228600" rtl="0" eaLnBrk="1" fontAlgn="auto" latinLnBrk="0" hangingPunct="1">
                <a:lnSpc>
                  <a:spcPct val="100000"/>
                </a:lnSpc>
                <a:spcBef>
                  <a:spcPts val="0"/>
                </a:spcBef>
                <a:spcAft>
                  <a:spcPts val="1200"/>
                </a:spcAft>
                <a:buClrTx/>
                <a:buSzTx/>
                <a:buFontTx/>
                <a:buNone/>
                <a:tabLst/>
                <a:defRPr/>
              </a:pPr>
              <a:t>5</a:t>
            </a:fld>
            <a:endParaRPr kumimoji="0" lang="en-US" sz="1800" b="0" i="0" u="none" strike="noStrike" kern="0" cap="none" spc="0" normalizeH="0" baseline="0" noProof="0">
              <a:ln>
                <a:noFill/>
              </a:ln>
              <a:solidFill>
                <a:srgbClr val="FFFFFF">
                  <a:alpha val="75000"/>
                </a:srgbClr>
              </a:solidFill>
              <a:effectLst/>
              <a:uLnTx/>
              <a:uFillTx/>
              <a:latin typeface="Graphik"/>
              <a:ea typeface="+mn-ea"/>
              <a:cs typeface="+mn-cs"/>
            </a:endParaRPr>
          </a:p>
        </p:txBody>
      </p:sp>
    </p:spTree>
    <p:extLst>
      <p:ext uri="{BB962C8B-B14F-4D97-AF65-F5344CB8AC3E}">
        <p14:creationId xmlns:p14="http://schemas.microsoft.com/office/powerpoint/2010/main" val="281032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Placeholder 27" descr="A picture containing person, person, male&#10;&#10;Description automatically generated">
            <a:extLst>
              <a:ext uri="{FF2B5EF4-FFF2-40B4-BE49-F238E27FC236}">
                <a16:creationId xmlns:a16="http://schemas.microsoft.com/office/drawing/2014/main" id="{A52DF373-606A-4A0D-9E1E-85C2BB8E6543}"/>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flipH="1">
            <a:off x="4644571" y="721026"/>
            <a:ext cx="7546244" cy="5411787"/>
          </a:xfrm>
        </p:spPr>
      </p:pic>
      <p:sp>
        <p:nvSpPr>
          <p:cNvPr id="16" name="Text Placeholder 15">
            <a:extLst>
              <a:ext uri="{FF2B5EF4-FFF2-40B4-BE49-F238E27FC236}">
                <a16:creationId xmlns:a16="http://schemas.microsoft.com/office/drawing/2014/main" id="{F8E311ED-162F-4027-9685-51EB36BF1234}"/>
              </a:ext>
            </a:extLst>
          </p:cNvPr>
          <p:cNvSpPr>
            <a:spLocks noGrp="1"/>
          </p:cNvSpPr>
          <p:nvPr>
            <p:ph type="body" idx="10"/>
          </p:nvPr>
        </p:nvSpPr>
        <p:spPr/>
        <p:txBody>
          <a:bodyPr/>
          <a:lstStyle/>
          <a:p>
            <a:r>
              <a:rPr lang="en-ZA"/>
              <a:t>01.</a:t>
            </a:r>
          </a:p>
        </p:txBody>
      </p:sp>
      <p:sp>
        <p:nvSpPr>
          <p:cNvPr id="5" name="Rectangle 4">
            <a:extLst>
              <a:ext uri="{FF2B5EF4-FFF2-40B4-BE49-F238E27FC236}">
                <a16:creationId xmlns:a16="http://schemas.microsoft.com/office/drawing/2014/main" id="{13E019F2-68C5-4BD1-8948-F74BB7E4E9DF}"/>
              </a:ext>
            </a:extLst>
          </p:cNvPr>
          <p:cNvSpPr/>
          <p:nvPr/>
        </p:nvSpPr>
        <p:spPr>
          <a:xfrm>
            <a:off x="4644571" y="721026"/>
            <a:ext cx="3546929" cy="5411787"/>
          </a:xfrm>
          <a:prstGeom prst="rect">
            <a:avLst/>
          </a:prstGeom>
          <a:gradFill>
            <a:gsLst>
              <a:gs pos="0">
                <a:schemeClr val="bg1">
                  <a:alpha val="82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err="1">
              <a:ln>
                <a:noFill/>
              </a:ln>
              <a:solidFill>
                <a:srgbClr val="FFFFFF"/>
              </a:solidFill>
              <a:effectLst/>
              <a:uLnTx/>
              <a:uFillTx/>
              <a:latin typeface="Graphik"/>
              <a:ea typeface="+mn-ea"/>
              <a:cs typeface="+mn-cs"/>
            </a:endParaRPr>
          </a:p>
        </p:txBody>
      </p:sp>
      <p:sp>
        <p:nvSpPr>
          <p:cNvPr id="3" name="Title 2">
            <a:extLst>
              <a:ext uri="{FF2B5EF4-FFF2-40B4-BE49-F238E27FC236}">
                <a16:creationId xmlns:a16="http://schemas.microsoft.com/office/drawing/2014/main" id="{004E2A65-2355-E745-AA24-6AC740C891C9}"/>
              </a:ext>
            </a:extLst>
          </p:cNvPr>
          <p:cNvSpPr>
            <a:spLocks noGrp="1"/>
          </p:cNvSpPr>
          <p:nvPr>
            <p:ph type="title"/>
          </p:nvPr>
        </p:nvSpPr>
        <p:spPr>
          <a:xfrm>
            <a:off x="1143001" y="3508331"/>
            <a:ext cx="7048499" cy="1994392"/>
          </a:xfrm>
        </p:spPr>
        <p:txBody>
          <a:bodyPr/>
          <a:lstStyle/>
          <a:p>
            <a:r>
              <a:rPr lang="en-US"/>
              <a:t>Logical Application Architecture</a:t>
            </a:r>
          </a:p>
        </p:txBody>
      </p:sp>
    </p:spTree>
    <p:extLst>
      <p:ext uri="{BB962C8B-B14F-4D97-AF65-F5344CB8AC3E}">
        <p14:creationId xmlns:p14="http://schemas.microsoft.com/office/powerpoint/2010/main" val="145223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a:extLst>
              <a:ext uri="{FF2B5EF4-FFF2-40B4-BE49-F238E27FC236}">
                <a16:creationId xmlns:a16="http://schemas.microsoft.com/office/drawing/2014/main" id="{6C0A5420-01E8-45C7-B251-FDBA7C45CD40}"/>
              </a:ext>
            </a:extLst>
          </p:cNvPr>
          <p:cNvSpPr/>
          <p:nvPr/>
        </p:nvSpPr>
        <p:spPr>
          <a:xfrm>
            <a:off x="10703396" y="88283"/>
            <a:ext cx="1342696" cy="66285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12" name="Rectangle 211">
            <a:extLst>
              <a:ext uri="{FF2B5EF4-FFF2-40B4-BE49-F238E27FC236}">
                <a16:creationId xmlns:a16="http://schemas.microsoft.com/office/drawing/2014/main" id="{922A745E-7704-4DA9-B522-04002855C37E}"/>
              </a:ext>
            </a:extLst>
          </p:cNvPr>
          <p:cNvSpPr/>
          <p:nvPr/>
        </p:nvSpPr>
        <p:spPr>
          <a:xfrm>
            <a:off x="80374" y="76251"/>
            <a:ext cx="10586200" cy="11462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4" name="Rectangle 3">
            <a:extLst>
              <a:ext uri="{FF2B5EF4-FFF2-40B4-BE49-F238E27FC236}">
                <a16:creationId xmlns:a16="http://schemas.microsoft.com/office/drawing/2014/main" id="{2E0A5F5B-080D-4865-9ACB-407F79174F6C}"/>
              </a:ext>
            </a:extLst>
          </p:cNvPr>
          <p:cNvSpPr/>
          <p:nvPr/>
        </p:nvSpPr>
        <p:spPr>
          <a:xfrm>
            <a:off x="80373" y="2052923"/>
            <a:ext cx="10586201" cy="1185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36" name="TextBox 135">
            <a:extLst>
              <a:ext uri="{FF2B5EF4-FFF2-40B4-BE49-F238E27FC236}">
                <a16:creationId xmlns:a16="http://schemas.microsoft.com/office/drawing/2014/main" id="{2D3AA2DE-029D-4527-AFCB-C871C594222F}"/>
              </a:ext>
            </a:extLst>
          </p:cNvPr>
          <p:cNvSpPr txBox="1"/>
          <p:nvPr/>
        </p:nvSpPr>
        <p:spPr>
          <a:xfrm>
            <a:off x="44024" y="2014949"/>
            <a:ext cx="1795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Technology</a:t>
            </a:r>
          </a:p>
        </p:txBody>
      </p:sp>
      <p:sp>
        <p:nvSpPr>
          <p:cNvPr id="188" name="TextBox 187">
            <a:extLst>
              <a:ext uri="{FF2B5EF4-FFF2-40B4-BE49-F238E27FC236}">
                <a16:creationId xmlns:a16="http://schemas.microsoft.com/office/drawing/2014/main" id="{2C1FA8F6-98E1-4F66-9D92-B71160A7A046}"/>
              </a:ext>
            </a:extLst>
          </p:cNvPr>
          <p:cNvSpPr txBox="1"/>
          <p:nvPr/>
        </p:nvSpPr>
        <p:spPr>
          <a:xfrm>
            <a:off x="153350" y="88284"/>
            <a:ext cx="33543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Organization &amp; Operating Model  Enablers</a:t>
            </a:r>
          </a:p>
        </p:txBody>
      </p:sp>
      <p:sp>
        <p:nvSpPr>
          <p:cNvPr id="191" name="Rectangle 190">
            <a:extLst>
              <a:ext uri="{FF2B5EF4-FFF2-40B4-BE49-F238E27FC236}">
                <a16:creationId xmlns:a16="http://schemas.microsoft.com/office/drawing/2014/main" id="{463A9683-1BC0-4FA1-B2FC-44D8B6486118}"/>
              </a:ext>
            </a:extLst>
          </p:cNvPr>
          <p:cNvSpPr/>
          <p:nvPr/>
        </p:nvSpPr>
        <p:spPr>
          <a:xfrm>
            <a:off x="118033" y="286468"/>
            <a:ext cx="1556373" cy="89407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0.1 Cloud Strategy &amp; Transformation</a:t>
            </a:r>
          </a:p>
        </p:txBody>
      </p:sp>
      <p:sp>
        <p:nvSpPr>
          <p:cNvPr id="178" name="Rectangle 177">
            <a:extLst>
              <a:ext uri="{FF2B5EF4-FFF2-40B4-BE49-F238E27FC236}">
                <a16:creationId xmlns:a16="http://schemas.microsoft.com/office/drawing/2014/main" id="{0F933D43-6CF1-4483-93D0-D2D87483FB20}"/>
              </a:ext>
            </a:extLst>
          </p:cNvPr>
          <p:cNvSpPr/>
          <p:nvPr/>
        </p:nvSpPr>
        <p:spPr>
          <a:xfrm>
            <a:off x="141217" y="823747"/>
            <a:ext cx="1504302" cy="94749"/>
          </a:xfrm>
          <a:prstGeom prst="rect">
            <a:avLst/>
          </a:prstGeom>
          <a:solidFill>
            <a:schemeClr val="bg1">
              <a:lumMod val="8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effectLst/>
                <a:uLnTx/>
                <a:uFillTx/>
                <a:latin typeface="Graphik" panose="020B0503030202060203" pitchFamily="34" charset="0"/>
                <a:ea typeface="+mn-ea"/>
                <a:cs typeface="+mn-cs"/>
              </a:rPr>
              <a:t>0.1.3 Platform Definition</a:t>
            </a:r>
          </a:p>
        </p:txBody>
      </p:sp>
      <p:sp>
        <p:nvSpPr>
          <p:cNvPr id="179" name="Rectangle 178">
            <a:extLst>
              <a:ext uri="{FF2B5EF4-FFF2-40B4-BE49-F238E27FC236}">
                <a16:creationId xmlns:a16="http://schemas.microsoft.com/office/drawing/2014/main" id="{627BAD3A-0464-48CF-B769-DFC68AB8CB5F}"/>
              </a:ext>
            </a:extLst>
          </p:cNvPr>
          <p:cNvSpPr/>
          <p:nvPr/>
        </p:nvSpPr>
        <p:spPr>
          <a:xfrm>
            <a:off x="140454" y="697625"/>
            <a:ext cx="1504302" cy="94749"/>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1.2 Investment Planning</a:t>
            </a:r>
          </a:p>
        </p:txBody>
      </p:sp>
      <p:sp>
        <p:nvSpPr>
          <p:cNvPr id="181" name="Rectangle 180">
            <a:extLst>
              <a:ext uri="{FF2B5EF4-FFF2-40B4-BE49-F238E27FC236}">
                <a16:creationId xmlns:a16="http://schemas.microsoft.com/office/drawing/2014/main" id="{FBDEB3C3-754D-472B-A0EC-15376923EE1D}"/>
              </a:ext>
            </a:extLst>
          </p:cNvPr>
          <p:cNvSpPr/>
          <p:nvPr/>
        </p:nvSpPr>
        <p:spPr>
          <a:xfrm>
            <a:off x="140454" y="578324"/>
            <a:ext cx="1504302" cy="94749"/>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1.1 Strategy and Roadmap</a:t>
            </a:r>
          </a:p>
        </p:txBody>
      </p:sp>
      <p:sp>
        <p:nvSpPr>
          <p:cNvPr id="182" name="Rectangle 181">
            <a:extLst>
              <a:ext uri="{FF2B5EF4-FFF2-40B4-BE49-F238E27FC236}">
                <a16:creationId xmlns:a16="http://schemas.microsoft.com/office/drawing/2014/main" id="{6132B1B7-F58B-48BE-B145-C03440DFC2B0}"/>
              </a:ext>
            </a:extLst>
          </p:cNvPr>
          <p:cNvSpPr/>
          <p:nvPr/>
        </p:nvSpPr>
        <p:spPr>
          <a:xfrm>
            <a:off x="140454" y="1055527"/>
            <a:ext cx="1504302" cy="94749"/>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1.5 Innovation Strategy</a:t>
            </a:r>
          </a:p>
        </p:txBody>
      </p:sp>
      <p:sp>
        <p:nvSpPr>
          <p:cNvPr id="183" name="Rectangle 182">
            <a:extLst>
              <a:ext uri="{FF2B5EF4-FFF2-40B4-BE49-F238E27FC236}">
                <a16:creationId xmlns:a16="http://schemas.microsoft.com/office/drawing/2014/main" id="{9DEADF87-B730-4403-8583-D9F4F44A6127}"/>
              </a:ext>
            </a:extLst>
          </p:cNvPr>
          <p:cNvSpPr/>
          <p:nvPr/>
        </p:nvSpPr>
        <p:spPr>
          <a:xfrm>
            <a:off x="140454" y="936227"/>
            <a:ext cx="1504302" cy="94749"/>
          </a:xfrm>
          <a:prstGeom prst="rect">
            <a:avLst/>
          </a:prstGeom>
          <a:solidFill>
            <a:schemeClr val="bg1">
              <a:lumMod val="85000"/>
            </a:schemeClr>
          </a:solidFill>
          <a:ln w="25400" cap="flat" cmpd="sng" algn="ctr">
            <a:noFill/>
            <a:prstDash val="solid"/>
          </a:ln>
          <a:effectLst/>
        </p:spPr>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    0.1.4 DevSecOps &amp; Agile Strategy</a:t>
            </a:r>
          </a:p>
        </p:txBody>
      </p:sp>
      <p:sp>
        <p:nvSpPr>
          <p:cNvPr id="173" name="TextBox 172">
            <a:extLst>
              <a:ext uri="{FF2B5EF4-FFF2-40B4-BE49-F238E27FC236}">
                <a16:creationId xmlns:a16="http://schemas.microsoft.com/office/drawing/2014/main" id="{828176CC-CA56-4A2C-A4A2-74D70F944F48}"/>
              </a:ext>
            </a:extLst>
          </p:cNvPr>
          <p:cNvSpPr txBox="1"/>
          <p:nvPr/>
        </p:nvSpPr>
        <p:spPr>
          <a:xfrm>
            <a:off x="10637121" y="82675"/>
            <a:ext cx="143802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Security, Risk &amp; Compliance</a:t>
            </a:r>
          </a:p>
        </p:txBody>
      </p:sp>
      <p:sp>
        <p:nvSpPr>
          <p:cNvPr id="174" name="Flowchart: Connector 173">
            <a:extLst>
              <a:ext uri="{FF2B5EF4-FFF2-40B4-BE49-F238E27FC236}">
                <a16:creationId xmlns:a16="http://schemas.microsoft.com/office/drawing/2014/main" id="{2C3A0BC1-64C5-493C-B302-CB07AE7469FE}"/>
              </a:ext>
              <a:ext uri="{C183D7F6-B498-43B3-948B-1728B52AA6E4}">
                <adec:decorative xmlns:adec="http://schemas.microsoft.com/office/drawing/2017/decorative" val="0"/>
              </a:ext>
            </a:extLst>
          </p:cNvPr>
          <p:cNvSpPr/>
          <p:nvPr/>
        </p:nvSpPr>
        <p:spPr>
          <a:xfrm>
            <a:off x="10553580" y="0"/>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2</a:t>
            </a:r>
          </a:p>
        </p:txBody>
      </p:sp>
      <p:sp>
        <p:nvSpPr>
          <p:cNvPr id="318" name="Rectangle 317">
            <a:extLst>
              <a:ext uri="{FF2B5EF4-FFF2-40B4-BE49-F238E27FC236}">
                <a16:creationId xmlns:a16="http://schemas.microsoft.com/office/drawing/2014/main" id="{A8DAF0EB-732F-4EF7-A0E8-EE5BE412A5F2}"/>
              </a:ext>
            </a:extLst>
          </p:cNvPr>
          <p:cNvSpPr/>
          <p:nvPr/>
        </p:nvSpPr>
        <p:spPr>
          <a:xfrm>
            <a:off x="10843137" y="511434"/>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1 Network &amp; End Point Security</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9" name="Rectangle 358">
            <a:extLst>
              <a:ext uri="{FF2B5EF4-FFF2-40B4-BE49-F238E27FC236}">
                <a16:creationId xmlns:a16="http://schemas.microsoft.com/office/drawing/2014/main" id="{78F3EB1D-6522-4822-B707-C3A288789728}"/>
              </a:ext>
            </a:extLst>
          </p:cNvPr>
          <p:cNvSpPr/>
          <p:nvPr/>
        </p:nvSpPr>
        <p:spPr>
          <a:xfrm>
            <a:off x="10843137" y="1403780"/>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2 Cyber Defense</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80" name="Rectangle 379">
            <a:extLst>
              <a:ext uri="{FF2B5EF4-FFF2-40B4-BE49-F238E27FC236}">
                <a16:creationId xmlns:a16="http://schemas.microsoft.com/office/drawing/2014/main" id="{56F1243F-6EDE-480B-8BA8-66008340DF18}"/>
              </a:ext>
            </a:extLst>
          </p:cNvPr>
          <p:cNvSpPr/>
          <p:nvPr/>
        </p:nvSpPr>
        <p:spPr>
          <a:xfrm>
            <a:off x="10843137" y="2296126"/>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3 Digital Identity</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81" name="Rectangle 380">
            <a:extLst>
              <a:ext uri="{FF2B5EF4-FFF2-40B4-BE49-F238E27FC236}">
                <a16:creationId xmlns:a16="http://schemas.microsoft.com/office/drawing/2014/main" id="{1EBBF2EC-323E-45C0-9A06-3DB0CFAFFCE9}"/>
              </a:ext>
            </a:extLst>
          </p:cNvPr>
          <p:cNvSpPr/>
          <p:nvPr/>
        </p:nvSpPr>
        <p:spPr>
          <a:xfrm>
            <a:off x="10843137" y="3188472"/>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4 Cloud Security Broker</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82" name="Rectangle 381">
            <a:extLst>
              <a:ext uri="{FF2B5EF4-FFF2-40B4-BE49-F238E27FC236}">
                <a16:creationId xmlns:a16="http://schemas.microsoft.com/office/drawing/2014/main" id="{F653A7B4-EDC5-4687-9714-6496255F7943}"/>
              </a:ext>
            </a:extLst>
          </p:cNvPr>
          <p:cNvSpPr/>
          <p:nvPr/>
        </p:nvSpPr>
        <p:spPr>
          <a:xfrm>
            <a:off x="10843137" y="4080818"/>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5 Application Security</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83" name="Rectangle 382">
            <a:extLst>
              <a:ext uri="{FF2B5EF4-FFF2-40B4-BE49-F238E27FC236}">
                <a16:creationId xmlns:a16="http://schemas.microsoft.com/office/drawing/2014/main" id="{365098AC-39CF-4B57-BE94-286399A54C10}"/>
              </a:ext>
            </a:extLst>
          </p:cNvPr>
          <p:cNvSpPr/>
          <p:nvPr/>
        </p:nvSpPr>
        <p:spPr>
          <a:xfrm>
            <a:off x="10843137" y="4973164"/>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6 Data Privacy &amp; Protection</a:t>
            </a:r>
          </a:p>
        </p:txBody>
      </p:sp>
      <p:sp>
        <p:nvSpPr>
          <p:cNvPr id="384" name="Rectangle 383">
            <a:extLst>
              <a:ext uri="{FF2B5EF4-FFF2-40B4-BE49-F238E27FC236}">
                <a16:creationId xmlns:a16="http://schemas.microsoft.com/office/drawing/2014/main" id="{C0A67BC3-4F63-4034-9532-411610D729C4}"/>
              </a:ext>
            </a:extLst>
          </p:cNvPr>
          <p:cNvSpPr/>
          <p:nvPr/>
        </p:nvSpPr>
        <p:spPr>
          <a:xfrm>
            <a:off x="10822121" y="5865510"/>
            <a:ext cx="1068027" cy="47366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7 Cloud Governance, Risk &amp; Compliance</a:t>
            </a:r>
            <a:endPar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35" name="Rectangle 234">
            <a:extLst>
              <a:ext uri="{FF2B5EF4-FFF2-40B4-BE49-F238E27FC236}">
                <a16:creationId xmlns:a16="http://schemas.microsoft.com/office/drawing/2014/main" id="{8A9BBD32-2799-434C-B487-648A507DFAA7}"/>
              </a:ext>
            </a:extLst>
          </p:cNvPr>
          <p:cNvSpPr/>
          <p:nvPr/>
        </p:nvSpPr>
        <p:spPr>
          <a:xfrm>
            <a:off x="80374" y="3371443"/>
            <a:ext cx="10593966" cy="116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36" name="TextBox 235">
            <a:extLst>
              <a:ext uri="{FF2B5EF4-FFF2-40B4-BE49-F238E27FC236}">
                <a16:creationId xmlns:a16="http://schemas.microsoft.com/office/drawing/2014/main" id="{3B3A2D9A-5E99-4356-B2A9-5450CC1B346B}"/>
              </a:ext>
            </a:extLst>
          </p:cNvPr>
          <p:cNvSpPr txBox="1"/>
          <p:nvPr/>
        </p:nvSpPr>
        <p:spPr>
          <a:xfrm>
            <a:off x="89801" y="3253345"/>
            <a:ext cx="113198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Data </a:t>
            </a:r>
          </a:p>
        </p:txBody>
      </p:sp>
      <p:sp>
        <p:nvSpPr>
          <p:cNvPr id="238" name="Rectangle 237">
            <a:extLst>
              <a:ext uri="{FF2B5EF4-FFF2-40B4-BE49-F238E27FC236}">
                <a16:creationId xmlns:a16="http://schemas.microsoft.com/office/drawing/2014/main" id="{9F4A629B-A5D0-4FDF-8442-FFC1DD04C67B}"/>
              </a:ext>
            </a:extLst>
          </p:cNvPr>
          <p:cNvSpPr/>
          <p:nvPr/>
        </p:nvSpPr>
        <p:spPr>
          <a:xfrm>
            <a:off x="133994" y="3458685"/>
            <a:ext cx="5678618" cy="48060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39" name="Rectangle 238">
            <a:extLst>
              <a:ext uri="{FF2B5EF4-FFF2-40B4-BE49-F238E27FC236}">
                <a16:creationId xmlns:a16="http://schemas.microsoft.com/office/drawing/2014/main" id="{0296D15C-2288-48C3-B6B4-C97E74912B0B}"/>
              </a:ext>
            </a:extLst>
          </p:cNvPr>
          <p:cNvSpPr/>
          <p:nvPr/>
        </p:nvSpPr>
        <p:spPr>
          <a:xfrm>
            <a:off x="5837671" y="3458685"/>
            <a:ext cx="4765581" cy="48060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40" name="Rectangle 239">
            <a:extLst>
              <a:ext uri="{FF2B5EF4-FFF2-40B4-BE49-F238E27FC236}">
                <a16:creationId xmlns:a16="http://schemas.microsoft.com/office/drawing/2014/main" id="{BC5720C9-B08C-45ED-B40E-7AC797287608}"/>
              </a:ext>
            </a:extLst>
          </p:cNvPr>
          <p:cNvSpPr/>
          <p:nvPr/>
        </p:nvSpPr>
        <p:spPr>
          <a:xfrm>
            <a:off x="135881" y="3962972"/>
            <a:ext cx="5676732" cy="48060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41" name="Rectangle 240">
            <a:extLst>
              <a:ext uri="{FF2B5EF4-FFF2-40B4-BE49-F238E27FC236}">
                <a16:creationId xmlns:a16="http://schemas.microsoft.com/office/drawing/2014/main" id="{1AF2DA1A-FF0A-4168-85F6-55559EE1C7C4}"/>
              </a:ext>
            </a:extLst>
          </p:cNvPr>
          <p:cNvSpPr/>
          <p:nvPr/>
        </p:nvSpPr>
        <p:spPr>
          <a:xfrm>
            <a:off x="5837671" y="3962972"/>
            <a:ext cx="4765581" cy="48060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42" name="Rectangle 241">
            <a:extLst>
              <a:ext uri="{FF2B5EF4-FFF2-40B4-BE49-F238E27FC236}">
                <a16:creationId xmlns:a16="http://schemas.microsoft.com/office/drawing/2014/main" id="{4564FCB3-7777-4AD5-82CD-33124E931665}"/>
              </a:ext>
            </a:extLst>
          </p:cNvPr>
          <p:cNvSpPr/>
          <p:nvPr/>
        </p:nvSpPr>
        <p:spPr>
          <a:xfrm>
            <a:off x="9408833"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7 ML Train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3" name="Rectangle 242">
            <a:extLst>
              <a:ext uri="{FF2B5EF4-FFF2-40B4-BE49-F238E27FC236}">
                <a16:creationId xmlns:a16="http://schemas.microsoft.com/office/drawing/2014/main" id="{FA3D1C4C-3921-4E0A-8555-E2A3957FA760}"/>
              </a:ext>
            </a:extLst>
          </p:cNvPr>
          <p:cNvSpPr/>
          <p:nvPr/>
        </p:nvSpPr>
        <p:spPr>
          <a:xfrm>
            <a:off x="5854576"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1 Data Import Expor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4" name="Rectangle 243">
            <a:extLst>
              <a:ext uri="{FF2B5EF4-FFF2-40B4-BE49-F238E27FC236}">
                <a16:creationId xmlns:a16="http://schemas.microsoft.com/office/drawing/2014/main" id="{941C877E-250A-4749-A6EB-8692FE1E3D04}"/>
              </a:ext>
            </a:extLst>
          </p:cNvPr>
          <p:cNvSpPr/>
          <p:nvPr/>
        </p:nvSpPr>
        <p:spPr>
          <a:xfrm>
            <a:off x="6532765"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2 Data Integration ETL</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5" name="Rectangle 244">
            <a:extLst>
              <a:ext uri="{FF2B5EF4-FFF2-40B4-BE49-F238E27FC236}">
                <a16:creationId xmlns:a16="http://schemas.microsoft.com/office/drawing/2014/main" id="{D20002F8-AB63-4D96-9F93-CC72EDFD33B2}"/>
              </a:ext>
            </a:extLst>
          </p:cNvPr>
          <p:cNvSpPr/>
          <p:nvPr/>
        </p:nvSpPr>
        <p:spPr>
          <a:xfrm>
            <a:off x="7210954"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3 VM Import Expor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6" name="Rectangle 245">
            <a:extLst>
              <a:ext uri="{FF2B5EF4-FFF2-40B4-BE49-F238E27FC236}">
                <a16:creationId xmlns:a16="http://schemas.microsoft.com/office/drawing/2014/main" id="{E298B085-DACA-4E0B-957E-8539D46B7152}"/>
              </a:ext>
            </a:extLst>
          </p:cNvPr>
          <p:cNvSpPr/>
          <p:nvPr/>
        </p:nvSpPr>
        <p:spPr>
          <a:xfrm>
            <a:off x="7889143"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4 Data Migr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7" name="Rectangle 246">
            <a:extLst>
              <a:ext uri="{FF2B5EF4-FFF2-40B4-BE49-F238E27FC236}">
                <a16:creationId xmlns:a16="http://schemas.microsoft.com/office/drawing/2014/main" id="{693B5802-DA00-45D8-AB0C-EAFFC339E7A3}"/>
              </a:ext>
            </a:extLst>
          </p:cNvPr>
          <p:cNvSpPr/>
          <p:nvPr/>
        </p:nvSpPr>
        <p:spPr>
          <a:xfrm>
            <a:off x="8567332"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5 Integration Service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8" name="Rectangle 247">
            <a:extLst>
              <a:ext uri="{FF2B5EF4-FFF2-40B4-BE49-F238E27FC236}">
                <a16:creationId xmlns:a16="http://schemas.microsoft.com/office/drawing/2014/main" id="{75A95244-6B3A-46A4-B819-81B48008941F}"/>
              </a:ext>
            </a:extLst>
          </p:cNvPr>
          <p:cNvSpPr/>
          <p:nvPr/>
        </p:nvSpPr>
        <p:spPr>
          <a:xfrm>
            <a:off x="9245521"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6 Server Migr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49" name="Rectangle 170">
            <a:extLst>
              <a:ext uri="{FF2B5EF4-FFF2-40B4-BE49-F238E27FC236}">
                <a16:creationId xmlns:a16="http://schemas.microsoft.com/office/drawing/2014/main" id="{86411F37-D16E-408A-B091-324C9EA9C0F8}"/>
              </a:ext>
            </a:extLst>
          </p:cNvPr>
          <p:cNvSpPr/>
          <p:nvPr/>
        </p:nvSpPr>
        <p:spPr>
          <a:xfrm>
            <a:off x="9933501" y="3643579"/>
            <a:ext cx="629331" cy="271332"/>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2.7 Enterprise Ap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Integration</a:t>
            </a:r>
          </a:p>
        </p:txBody>
      </p:sp>
      <p:sp>
        <p:nvSpPr>
          <p:cNvPr id="250" name="Rectangle 249">
            <a:extLst>
              <a:ext uri="{FF2B5EF4-FFF2-40B4-BE49-F238E27FC236}">
                <a16:creationId xmlns:a16="http://schemas.microsoft.com/office/drawing/2014/main" id="{9A253CEA-CB62-4C38-AA60-9C0AD17358FD}"/>
              </a:ext>
            </a:extLst>
          </p:cNvPr>
          <p:cNvSpPr/>
          <p:nvPr/>
        </p:nvSpPr>
        <p:spPr>
          <a:xfrm>
            <a:off x="874385" y="4114892"/>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2 Data Discover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1" name="Rectangle 250">
            <a:extLst>
              <a:ext uri="{FF2B5EF4-FFF2-40B4-BE49-F238E27FC236}">
                <a16:creationId xmlns:a16="http://schemas.microsoft.com/office/drawing/2014/main" id="{E4D3281D-5913-4AD7-8633-00777950202F}"/>
              </a:ext>
            </a:extLst>
          </p:cNvPr>
          <p:cNvSpPr/>
          <p:nvPr/>
        </p:nvSpPr>
        <p:spPr>
          <a:xfrm>
            <a:off x="1579418" y="4116734"/>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3 Big Data Process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2" name="Rectangle 251">
            <a:extLst>
              <a:ext uri="{FF2B5EF4-FFF2-40B4-BE49-F238E27FC236}">
                <a16:creationId xmlns:a16="http://schemas.microsoft.com/office/drawing/2014/main" id="{962DC4CC-A63D-48D9-865D-3D9451810AB0}"/>
              </a:ext>
            </a:extLst>
          </p:cNvPr>
          <p:cNvSpPr/>
          <p:nvPr/>
        </p:nvSpPr>
        <p:spPr>
          <a:xfrm>
            <a:off x="2284451" y="4116734"/>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4 Stream Analytic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3" name="Rectangle 252">
            <a:extLst>
              <a:ext uri="{FF2B5EF4-FFF2-40B4-BE49-F238E27FC236}">
                <a16:creationId xmlns:a16="http://schemas.microsoft.com/office/drawing/2014/main" id="{469F4A01-140C-40A1-9BDF-DC8949283EDA}"/>
              </a:ext>
            </a:extLst>
          </p:cNvPr>
          <p:cNvSpPr/>
          <p:nvPr/>
        </p:nvSpPr>
        <p:spPr>
          <a:xfrm>
            <a:off x="2989484" y="4116734"/>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5 Visualiz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4" name="Rectangle 165">
            <a:extLst>
              <a:ext uri="{FF2B5EF4-FFF2-40B4-BE49-F238E27FC236}">
                <a16:creationId xmlns:a16="http://schemas.microsoft.com/office/drawing/2014/main" id="{6C5F8A87-B9E2-4D57-AFF0-855B020F2F4F}"/>
              </a:ext>
            </a:extLst>
          </p:cNvPr>
          <p:cNvSpPr/>
          <p:nvPr/>
        </p:nvSpPr>
        <p:spPr>
          <a:xfrm>
            <a:off x="169352" y="4116734"/>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1 Data Orchestration</a:t>
            </a:r>
          </a:p>
        </p:txBody>
      </p:sp>
      <p:sp>
        <p:nvSpPr>
          <p:cNvPr id="255" name="Rectangle 254">
            <a:extLst>
              <a:ext uri="{FF2B5EF4-FFF2-40B4-BE49-F238E27FC236}">
                <a16:creationId xmlns:a16="http://schemas.microsoft.com/office/drawing/2014/main" id="{1CE58D57-E26D-4C65-986A-F422EAEA2860}"/>
              </a:ext>
            </a:extLst>
          </p:cNvPr>
          <p:cNvSpPr/>
          <p:nvPr/>
        </p:nvSpPr>
        <p:spPr>
          <a:xfrm>
            <a:off x="3694517" y="4116734"/>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6 Data Quality Service</a:t>
            </a:r>
          </a:p>
        </p:txBody>
      </p:sp>
      <p:sp>
        <p:nvSpPr>
          <p:cNvPr id="256" name="Rectangle 255">
            <a:extLst>
              <a:ext uri="{FF2B5EF4-FFF2-40B4-BE49-F238E27FC236}">
                <a16:creationId xmlns:a16="http://schemas.microsoft.com/office/drawing/2014/main" id="{CD8CBE52-E0C3-4213-9300-FD1E5ED87454}"/>
              </a:ext>
            </a:extLst>
          </p:cNvPr>
          <p:cNvSpPr/>
          <p:nvPr/>
        </p:nvSpPr>
        <p:spPr>
          <a:xfrm>
            <a:off x="4399550" y="4109957"/>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3.7 Predictive Analytics</a:t>
            </a:r>
          </a:p>
        </p:txBody>
      </p:sp>
      <p:sp>
        <p:nvSpPr>
          <p:cNvPr id="257" name="Rectangle 256">
            <a:extLst>
              <a:ext uri="{FF2B5EF4-FFF2-40B4-BE49-F238E27FC236}">
                <a16:creationId xmlns:a16="http://schemas.microsoft.com/office/drawing/2014/main" id="{C1B3ACF1-44B4-4C6F-B4BA-C57314AD4BDB}"/>
              </a:ext>
            </a:extLst>
          </p:cNvPr>
          <p:cNvSpPr/>
          <p:nvPr/>
        </p:nvSpPr>
        <p:spPr>
          <a:xfrm>
            <a:off x="6455498"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2 Language Recogni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8" name="Rectangle 257">
            <a:extLst>
              <a:ext uri="{FF2B5EF4-FFF2-40B4-BE49-F238E27FC236}">
                <a16:creationId xmlns:a16="http://schemas.microsoft.com/office/drawing/2014/main" id="{E5D80F36-D998-4858-B977-38F2202586E0}"/>
              </a:ext>
            </a:extLst>
          </p:cNvPr>
          <p:cNvSpPr/>
          <p:nvPr/>
        </p:nvSpPr>
        <p:spPr>
          <a:xfrm>
            <a:off x="7046165"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3 Text-to-Speech</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59" name="Rectangle 258">
            <a:extLst>
              <a:ext uri="{FF2B5EF4-FFF2-40B4-BE49-F238E27FC236}">
                <a16:creationId xmlns:a16="http://schemas.microsoft.com/office/drawing/2014/main" id="{6FC72F97-DADF-48D3-BDA4-1D3A7FE89311}"/>
              </a:ext>
            </a:extLst>
          </p:cNvPr>
          <p:cNvSpPr/>
          <p:nvPr/>
        </p:nvSpPr>
        <p:spPr>
          <a:xfrm>
            <a:off x="8227499"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5 Machine Learn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0" name="Rectangle 259">
            <a:extLst>
              <a:ext uri="{FF2B5EF4-FFF2-40B4-BE49-F238E27FC236}">
                <a16:creationId xmlns:a16="http://schemas.microsoft.com/office/drawing/2014/main" id="{49467F65-E7C7-4DA5-8717-60695B6FE6C6}"/>
              </a:ext>
            </a:extLst>
          </p:cNvPr>
          <p:cNvSpPr/>
          <p:nvPr/>
        </p:nvSpPr>
        <p:spPr>
          <a:xfrm>
            <a:off x="10021686" y="4123166"/>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8 Speech Recogni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1" name="Rectangle 260">
            <a:extLst>
              <a:ext uri="{FF2B5EF4-FFF2-40B4-BE49-F238E27FC236}">
                <a16:creationId xmlns:a16="http://schemas.microsoft.com/office/drawing/2014/main" id="{1CDB94C3-F764-4A0B-9CF9-2024F78C0D1B}"/>
              </a:ext>
            </a:extLst>
          </p:cNvPr>
          <p:cNvSpPr/>
          <p:nvPr/>
        </p:nvSpPr>
        <p:spPr>
          <a:xfrm>
            <a:off x="5864831"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1 Vision Recogni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2" name="Rectangle 261">
            <a:extLst>
              <a:ext uri="{FF2B5EF4-FFF2-40B4-BE49-F238E27FC236}">
                <a16:creationId xmlns:a16="http://schemas.microsoft.com/office/drawing/2014/main" id="{90882B88-771D-402E-A2D6-3B0FAB5A3B88}"/>
              </a:ext>
            </a:extLst>
          </p:cNvPr>
          <p:cNvSpPr/>
          <p:nvPr/>
        </p:nvSpPr>
        <p:spPr>
          <a:xfrm>
            <a:off x="7636832"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4 Transl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3" name="Rectangle 262">
            <a:extLst>
              <a:ext uri="{FF2B5EF4-FFF2-40B4-BE49-F238E27FC236}">
                <a16:creationId xmlns:a16="http://schemas.microsoft.com/office/drawing/2014/main" id="{7069D3A7-286D-48AD-8215-F4EAD35524B1}"/>
              </a:ext>
            </a:extLst>
          </p:cNvPr>
          <p:cNvSpPr/>
          <p:nvPr/>
        </p:nvSpPr>
        <p:spPr>
          <a:xfrm>
            <a:off x="8818166" y="4127137"/>
            <a:ext cx="5411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4.6 Intelligent Bot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4" name="Rectangle 263">
            <a:extLst>
              <a:ext uri="{FF2B5EF4-FFF2-40B4-BE49-F238E27FC236}">
                <a16:creationId xmlns:a16="http://schemas.microsoft.com/office/drawing/2014/main" id="{45663FB7-5990-42F6-8108-09CF80A4F31F}"/>
              </a:ext>
            </a:extLst>
          </p:cNvPr>
          <p:cNvSpPr/>
          <p:nvPr/>
        </p:nvSpPr>
        <p:spPr>
          <a:xfrm>
            <a:off x="172310" y="3642200"/>
            <a:ext cx="571100" cy="279264"/>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1 Cloud-native RDBM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5" name="Rectangle 264">
            <a:extLst>
              <a:ext uri="{FF2B5EF4-FFF2-40B4-BE49-F238E27FC236}">
                <a16:creationId xmlns:a16="http://schemas.microsoft.com/office/drawing/2014/main" id="{B76AD24F-B23A-4CDF-97BC-2E265E964FFD}"/>
              </a:ext>
            </a:extLst>
          </p:cNvPr>
          <p:cNvSpPr/>
          <p:nvPr/>
        </p:nvSpPr>
        <p:spPr>
          <a:xfrm>
            <a:off x="770671" y="3642981"/>
            <a:ext cx="652646" cy="280873"/>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2 Non-nativ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managed</a:t>
            </a:r>
            <a:b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b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RDBM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6" name="Rectangle 265">
            <a:extLst>
              <a:ext uri="{FF2B5EF4-FFF2-40B4-BE49-F238E27FC236}">
                <a16:creationId xmlns:a16="http://schemas.microsoft.com/office/drawing/2014/main" id="{B4B90596-D772-4EA6-8FD7-946B7099AA8F}"/>
              </a:ext>
            </a:extLst>
          </p:cNvPr>
          <p:cNvSpPr/>
          <p:nvPr/>
        </p:nvSpPr>
        <p:spPr>
          <a:xfrm>
            <a:off x="3312302"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6 Data Warehous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7" name="Rectangle 266">
            <a:extLst>
              <a:ext uri="{FF2B5EF4-FFF2-40B4-BE49-F238E27FC236}">
                <a16:creationId xmlns:a16="http://schemas.microsoft.com/office/drawing/2014/main" id="{F4DE9205-F8BF-4F28-80D2-47F7F1532890}"/>
              </a:ext>
            </a:extLst>
          </p:cNvPr>
          <p:cNvSpPr/>
          <p:nvPr/>
        </p:nvSpPr>
        <p:spPr>
          <a:xfrm>
            <a:off x="3932877"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7 Cach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8" name="Rectangle 267">
            <a:extLst>
              <a:ext uri="{FF2B5EF4-FFF2-40B4-BE49-F238E27FC236}">
                <a16:creationId xmlns:a16="http://schemas.microsoft.com/office/drawing/2014/main" id="{8A4663C3-8AD5-442C-A9D0-7356A3FE0111}"/>
              </a:ext>
            </a:extLst>
          </p:cNvPr>
          <p:cNvSpPr/>
          <p:nvPr/>
        </p:nvSpPr>
        <p:spPr>
          <a:xfrm>
            <a:off x="1450577"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3 No-SQL</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69" name="Rectangle 268">
            <a:extLst>
              <a:ext uri="{FF2B5EF4-FFF2-40B4-BE49-F238E27FC236}">
                <a16:creationId xmlns:a16="http://schemas.microsoft.com/office/drawing/2014/main" id="{9B2606C5-F99F-4FB3-99B5-CD8B13E2487C}"/>
              </a:ext>
            </a:extLst>
          </p:cNvPr>
          <p:cNvSpPr/>
          <p:nvPr/>
        </p:nvSpPr>
        <p:spPr>
          <a:xfrm>
            <a:off x="2071152"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4 Graph Databas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0" name="Rectangle 269">
            <a:extLst>
              <a:ext uri="{FF2B5EF4-FFF2-40B4-BE49-F238E27FC236}">
                <a16:creationId xmlns:a16="http://schemas.microsoft.com/office/drawing/2014/main" id="{5FF701F2-9417-411F-9AA8-C184C8769690}"/>
              </a:ext>
            </a:extLst>
          </p:cNvPr>
          <p:cNvSpPr/>
          <p:nvPr/>
        </p:nvSpPr>
        <p:spPr>
          <a:xfrm>
            <a:off x="4553452"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8 Mas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Data Mgm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1" name="Rectangle 270">
            <a:extLst>
              <a:ext uri="{FF2B5EF4-FFF2-40B4-BE49-F238E27FC236}">
                <a16:creationId xmlns:a16="http://schemas.microsoft.com/office/drawing/2014/main" id="{2B08BC60-00FE-423B-B816-96E7DF83500C}"/>
              </a:ext>
            </a:extLst>
          </p:cNvPr>
          <p:cNvSpPr/>
          <p:nvPr/>
        </p:nvSpPr>
        <p:spPr>
          <a:xfrm>
            <a:off x="2691727" y="3641596"/>
            <a:ext cx="593315" cy="27803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4.1.5 In-memory Databas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2" name="TextBox 271">
            <a:extLst>
              <a:ext uri="{FF2B5EF4-FFF2-40B4-BE49-F238E27FC236}">
                <a16:creationId xmlns:a16="http://schemas.microsoft.com/office/drawing/2014/main" id="{F3E7EA51-5FC1-4BE7-801E-12562E3B5D81}"/>
              </a:ext>
            </a:extLst>
          </p:cNvPr>
          <p:cNvSpPr txBox="1"/>
          <p:nvPr/>
        </p:nvSpPr>
        <p:spPr>
          <a:xfrm>
            <a:off x="100104" y="3436522"/>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4.1 Database Services</a:t>
            </a:r>
          </a:p>
        </p:txBody>
      </p:sp>
      <p:sp>
        <p:nvSpPr>
          <p:cNvPr id="273" name="TextBox 272">
            <a:extLst>
              <a:ext uri="{FF2B5EF4-FFF2-40B4-BE49-F238E27FC236}">
                <a16:creationId xmlns:a16="http://schemas.microsoft.com/office/drawing/2014/main" id="{2DF4406B-B841-4074-B88A-0CEF8F911888}"/>
              </a:ext>
            </a:extLst>
          </p:cNvPr>
          <p:cNvSpPr txBox="1"/>
          <p:nvPr/>
        </p:nvSpPr>
        <p:spPr>
          <a:xfrm>
            <a:off x="117881" y="3944045"/>
            <a:ext cx="17676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4.3  Analytics and Big Data</a:t>
            </a:r>
          </a:p>
        </p:txBody>
      </p:sp>
      <p:sp>
        <p:nvSpPr>
          <p:cNvPr id="274" name="TextBox 273">
            <a:extLst>
              <a:ext uri="{FF2B5EF4-FFF2-40B4-BE49-F238E27FC236}">
                <a16:creationId xmlns:a16="http://schemas.microsoft.com/office/drawing/2014/main" id="{365B784F-175F-4836-AFE1-A97E7B8EDC2E}"/>
              </a:ext>
            </a:extLst>
          </p:cNvPr>
          <p:cNvSpPr txBox="1"/>
          <p:nvPr/>
        </p:nvSpPr>
        <p:spPr>
          <a:xfrm>
            <a:off x="5830165" y="3452335"/>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4.2  Enterprise Integration</a:t>
            </a:r>
          </a:p>
        </p:txBody>
      </p:sp>
      <p:sp>
        <p:nvSpPr>
          <p:cNvPr id="275" name="TextBox 274">
            <a:extLst>
              <a:ext uri="{FF2B5EF4-FFF2-40B4-BE49-F238E27FC236}">
                <a16:creationId xmlns:a16="http://schemas.microsoft.com/office/drawing/2014/main" id="{87B07604-B852-427D-9AF9-6FCF8FC8F9E4}"/>
              </a:ext>
            </a:extLst>
          </p:cNvPr>
          <p:cNvSpPr txBox="1"/>
          <p:nvPr/>
        </p:nvSpPr>
        <p:spPr>
          <a:xfrm>
            <a:off x="5830165" y="3944045"/>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4.4  Artificial Intelligence &amp; Machine Learning </a:t>
            </a:r>
          </a:p>
        </p:txBody>
      </p:sp>
      <p:sp>
        <p:nvSpPr>
          <p:cNvPr id="237" name="Flowchart: Connector 236">
            <a:extLst>
              <a:ext uri="{FF2B5EF4-FFF2-40B4-BE49-F238E27FC236}">
                <a16:creationId xmlns:a16="http://schemas.microsoft.com/office/drawing/2014/main" id="{C5497DF1-D696-4DC6-915E-9129F32B1F4A}"/>
              </a:ext>
              <a:ext uri="{C183D7F6-B498-43B3-948B-1728B52AA6E4}">
                <adec:decorative xmlns:adec="http://schemas.microsoft.com/office/drawing/2017/decorative" val="0"/>
              </a:ext>
            </a:extLst>
          </p:cNvPr>
          <p:cNvSpPr/>
          <p:nvPr/>
        </p:nvSpPr>
        <p:spPr>
          <a:xfrm>
            <a:off x="32518" y="3280199"/>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4</a:t>
            </a:r>
          </a:p>
        </p:txBody>
      </p:sp>
      <p:sp>
        <p:nvSpPr>
          <p:cNvPr id="164" name="Rectangle 163">
            <a:extLst>
              <a:ext uri="{FF2B5EF4-FFF2-40B4-BE49-F238E27FC236}">
                <a16:creationId xmlns:a16="http://schemas.microsoft.com/office/drawing/2014/main" id="{8B93414F-8FC0-42C0-95C8-9FDCE0FA57FB}"/>
              </a:ext>
            </a:extLst>
          </p:cNvPr>
          <p:cNvSpPr/>
          <p:nvPr/>
        </p:nvSpPr>
        <p:spPr>
          <a:xfrm>
            <a:off x="6110531" y="2240251"/>
            <a:ext cx="4479958" cy="963584"/>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75" name="TextBox 174">
            <a:extLst>
              <a:ext uri="{FF2B5EF4-FFF2-40B4-BE49-F238E27FC236}">
                <a16:creationId xmlns:a16="http://schemas.microsoft.com/office/drawing/2014/main" id="{E4A1191E-1DBA-4AC1-A639-CE159E0C1D41}"/>
              </a:ext>
            </a:extLst>
          </p:cNvPr>
          <p:cNvSpPr txBox="1"/>
          <p:nvPr/>
        </p:nvSpPr>
        <p:spPr>
          <a:xfrm>
            <a:off x="6081299" y="2198102"/>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3</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2 Networking</a:t>
            </a:r>
          </a:p>
        </p:txBody>
      </p:sp>
      <p:sp>
        <p:nvSpPr>
          <p:cNvPr id="176" name="Rectangle 175">
            <a:extLst>
              <a:ext uri="{FF2B5EF4-FFF2-40B4-BE49-F238E27FC236}">
                <a16:creationId xmlns:a16="http://schemas.microsoft.com/office/drawing/2014/main" id="{2ECBC898-DE23-4758-BFF6-4A19EB7F4B1E}"/>
              </a:ext>
            </a:extLst>
          </p:cNvPr>
          <p:cNvSpPr/>
          <p:nvPr/>
        </p:nvSpPr>
        <p:spPr>
          <a:xfrm>
            <a:off x="118969" y="2240159"/>
            <a:ext cx="5952959" cy="456158"/>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77" name="Rectangle 176">
            <a:extLst>
              <a:ext uri="{FF2B5EF4-FFF2-40B4-BE49-F238E27FC236}">
                <a16:creationId xmlns:a16="http://schemas.microsoft.com/office/drawing/2014/main" id="{104E4774-2949-4FFD-B7EB-916BBAA7E8C5}"/>
              </a:ext>
            </a:extLst>
          </p:cNvPr>
          <p:cNvSpPr/>
          <p:nvPr/>
        </p:nvSpPr>
        <p:spPr>
          <a:xfrm>
            <a:off x="6127726" y="2397418"/>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1 Virtual Network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90" name="Rectangle 189">
            <a:extLst>
              <a:ext uri="{FF2B5EF4-FFF2-40B4-BE49-F238E27FC236}">
                <a16:creationId xmlns:a16="http://schemas.microsoft.com/office/drawing/2014/main" id="{D7D10A7A-F7C7-4ADF-8DBB-21B88E0A5AFF}"/>
              </a:ext>
            </a:extLst>
          </p:cNvPr>
          <p:cNvSpPr/>
          <p:nvPr/>
        </p:nvSpPr>
        <p:spPr>
          <a:xfrm>
            <a:off x="7242041" y="2397418"/>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2 Hybrid Connectivit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3" name="Rectangle 212">
            <a:extLst>
              <a:ext uri="{FF2B5EF4-FFF2-40B4-BE49-F238E27FC236}">
                <a16:creationId xmlns:a16="http://schemas.microsoft.com/office/drawing/2014/main" id="{82A32EE6-97E4-43C7-806B-E38CC996DE55}"/>
              </a:ext>
            </a:extLst>
          </p:cNvPr>
          <p:cNvSpPr/>
          <p:nvPr/>
        </p:nvSpPr>
        <p:spPr>
          <a:xfrm>
            <a:off x="8356282" y="2397418"/>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3 Dedicated Connectivit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4" name="Rectangle 213">
            <a:extLst>
              <a:ext uri="{FF2B5EF4-FFF2-40B4-BE49-F238E27FC236}">
                <a16:creationId xmlns:a16="http://schemas.microsoft.com/office/drawing/2014/main" id="{184641FE-B3F5-42FE-98B2-7ECD9421CC17}"/>
              </a:ext>
            </a:extLst>
          </p:cNvPr>
          <p:cNvSpPr/>
          <p:nvPr/>
        </p:nvSpPr>
        <p:spPr>
          <a:xfrm>
            <a:off x="9473071" y="2397418"/>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4 Network Load Balanc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5" name="Rectangle 214">
            <a:extLst>
              <a:ext uri="{FF2B5EF4-FFF2-40B4-BE49-F238E27FC236}">
                <a16:creationId xmlns:a16="http://schemas.microsoft.com/office/drawing/2014/main" id="{B58AEFF4-DDF5-4DE6-83B2-1CC268568F1A}"/>
              </a:ext>
            </a:extLst>
          </p:cNvPr>
          <p:cNvSpPr/>
          <p:nvPr/>
        </p:nvSpPr>
        <p:spPr>
          <a:xfrm>
            <a:off x="6127726" y="2848971"/>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5 Web load Balanc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6" name="Rectangle 215">
            <a:extLst>
              <a:ext uri="{FF2B5EF4-FFF2-40B4-BE49-F238E27FC236}">
                <a16:creationId xmlns:a16="http://schemas.microsoft.com/office/drawing/2014/main" id="{9C5AEFC9-722C-45EA-8BBF-8F29CFE18048}"/>
              </a:ext>
            </a:extLst>
          </p:cNvPr>
          <p:cNvSpPr/>
          <p:nvPr/>
        </p:nvSpPr>
        <p:spPr>
          <a:xfrm>
            <a:off x="9473071" y="2848971"/>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8 Domain Name Servic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7" name="Rectangle 216">
            <a:extLst>
              <a:ext uri="{FF2B5EF4-FFF2-40B4-BE49-F238E27FC236}">
                <a16:creationId xmlns:a16="http://schemas.microsoft.com/office/drawing/2014/main" id="{B517A1E6-4F95-476A-BFB3-BA31297466E6}"/>
              </a:ext>
            </a:extLst>
          </p:cNvPr>
          <p:cNvSpPr/>
          <p:nvPr/>
        </p:nvSpPr>
        <p:spPr>
          <a:xfrm>
            <a:off x="7242957" y="2848971"/>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6 Internet Traffic Distributor</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18" name="Rectangle 169">
            <a:extLst>
              <a:ext uri="{FF2B5EF4-FFF2-40B4-BE49-F238E27FC236}">
                <a16:creationId xmlns:a16="http://schemas.microsoft.com/office/drawing/2014/main" id="{0352CB39-40B0-4624-895B-A1F10F27C635}"/>
              </a:ext>
            </a:extLst>
          </p:cNvPr>
          <p:cNvSpPr/>
          <p:nvPr/>
        </p:nvSpPr>
        <p:spPr>
          <a:xfrm>
            <a:off x="8358188" y="2848971"/>
            <a:ext cx="1089761"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2.7 Content Delivery Network</a:t>
            </a:r>
          </a:p>
        </p:txBody>
      </p:sp>
      <p:sp>
        <p:nvSpPr>
          <p:cNvPr id="219" name="TextBox 218">
            <a:extLst>
              <a:ext uri="{FF2B5EF4-FFF2-40B4-BE49-F238E27FC236}">
                <a16:creationId xmlns:a16="http://schemas.microsoft.com/office/drawing/2014/main" id="{5CFFF38E-F420-49F2-8564-D4E915E13AA9}"/>
              </a:ext>
            </a:extLst>
          </p:cNvPr>
          <p:cNvSpPr txBox="1"/>
          <p:nvPr/>
        </p:nvSpPr>
        <p:spPr>
          <a:xfrm>
            <a:off x="119336" y="2198318"/>
            <a:ext cx="2658745" cy="2182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3</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1  Compute Services</a:t>
            </a:r>
          </a:p>
        </p:txBody>
      </p:sp>
      <p:sp>
        <p:nvSpPr>
          <p:cNvPr id="228" name="Rectangle 227">
            <a:extLst>
              <a:ext uri="{FF2B5EF4-FFF2-40B4-BE49-F238E27FC236}">
                <a16:creationId xmlns:a16="http://schemas.microsoft.com/office/drawing/2014/main" id="{D0884360-49BA-416B-BCA8-28E662CC310F}"/>
              </a:ext>
            </a:extLst>
          </p:cNvPr>
          <p:cNvSpPr/>
          <p:nvPr/>
        </p:nvSpPr>
        <p:spPr>
          <a:xfrm>
            <a:off x="118969" y="2735976"/>
            <a:ext cx="5952959" cy="46797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29" name="Rectangle 228">
            <a:extLst>
              <a:ext uri="{FF2B5EF4-FFF2-40B4-BE49-F238E27FC236}">
                <a16:creationId xmlns:a16="http://schemas.microsoft.com/office/drawing/2014/main" id="{E813E92B-A912-442A-8F12-2ED373DD86C7}"/>
              </a:ext>
            </a:extLst>
          </p:cNvPr>
          <p:cNvSpPr/>
          <p:nvPr/>
        </p:nvSpPr>
        <p:spPr>
          <a:xfrm>
            <a:off x="179485"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1 Attached Disk Storag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6" name="Rectangle 275">
            <a:extLst>
              <a:ext uri="{FF2B5EF4-FFF2-40B4-BE49-F238E27FC236}">
                <a16:creationId xmlns:a16="http://schemas.microsoft.com/office/drawing/2014/main" id="{FCEF8EA7-7FE5-4677-B67D-9D02929DED66}"/>
              </a:ext>
            </a:extLst>
          </p:cNvPr>
          <p:cNvSpPr/>
          <p:nvPr/>
        </p:nvSpPr>
        <p:spPr>
          <a:xfrm>
            <a:off x="908949"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2 Object Storag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7" name="Rectangle 276">
            <a:extLst>
              <a:ext uri="{FF2B5EF4-FFF2-40B4-BE49-F238E27FC236}">
                <a16:creationId xmlns:a16="http://schemas.microsoft.com/office/drawing/2014/main" id="{B9BE65F8-991A-4D66-81BB-140C9DA5655B}"/>
              </a:ext>
            </a:extLst>
          </p:cNvPr>
          <p:cNvSpPr/>
          <p:nvPr/>
        </p:nvSpPr>
        <p:spPr>
          <a:xfrm>
            <a:off x="1646270"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3 Shared File Storag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8" name="Rectangle 277">
            <a:extLst>
              <a:ext uri="{FF2B5EF4-FFF2-40B4-BE49-F238E27FC236}">
                <a16:creationId xmlns:a16="http://schemas.microsoft.com/office/drawing/2014/main" id="{B8009ED1-4ABE-4414-8363-B2BAB20862EF}"/>
              </a:ext>
            </a:extLst>
          </p:cNvPr>
          <p:cNvSpPr/>
          <p:nvPr/>
        </p:nvSpPr>
        <p:spPr>
          <a:xfrm>
            <a:off x="2383591"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4 Archiving Cool Storag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79" name="Rectangle 278">
            <a:extLst>
              <a:ext uri="{FF2B5EF4-FFF2-40B4-BE49-F238E27FC236}">
                <a16:creationId xmlns:a16="http://schemas.microsoft.com/office/drawing/2014/main" id="{6D82CD25-A17C-4401-BC15-AA4FFC7E2372}"/>
              </a:ext>
            </a:extLst>
          </p:cNvPr>
          <p:cNvSpPr/>
          <p:nvPr/>
        </p:nvSpPr>
        <p:spPr>
          <a:xfrm>
            <a:off x="3120912"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5 Hybrid Storag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80" name="Rectangle 279">
            <a:extLst>
              <a:ext uri="{FF2B5EF4-FFF2-40B4-BE49-F238E27FC236}">
                <a16:creationId xmlns:a16="http://schemas.microsoft.com/office/drawing/2014/main" id="{651D258A-FB6B-41C8-AAE6-485B91DFD2D8}"/>
              </a:ext>
            </a:extLst>
          </p:cNvPr>
          <p:cNvSpPr/>
          <p:nvPr/>
        </p:nvSpPr>
        <p:spPr>
          <a:xfrm>
            <a:off x="3858233"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6 Disaster Recover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81" name="Rectangle 280">
            <a:extLst>
              <a:ext uri="{FF2B5EF4-FFF2-40B4-BE49-F238E27FC236}">
                <a16:creationId xmlns:a16="http://schemas.microsoft.com/office/drawing/2014/main" id="{28EC3413-2111-4775-9934-49473F502104}"/>
              </a:ext>
            </a:extLst>
          </p:cNvPr>
          <p:cNvSpPr/>
          <p:nvPr/>
        </p:nvSpPr>
        <p:spPr>
          <a:xfrm>
            <a:off x="4595552" y="29012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3.3.7 Backup</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88" name="TextBox 387">
            <a:extLst>
              <a:ext uri="{FF2B5EF4-FFF2-40B4-BE49-F238E27FC236}">
                <a16:creationId xmlns:a16="http://schemas.microsoft.com/office/drawing/2014/main" id="{7865EC0D-8770-4D96-A31A-E244D2886EFE}"/>
              </a:ext>
            </a:extLst>
          </p:cNvPr>
          <p:cNvSpPr txBox="1"/>
          <p:nvPr/>
        </p:nvSpPr>
        <p:spPr>
          <a:xfrm>
            <a:off x="119336" y="2709743"/>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3</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3  Storage</a:t>
            </a:r>
          </a:p>
        </p:txBody>
      </p:sp>
      <p:sp>
        <p:nvSpPr>
          <p:cNvPr id="283" name="Rectangle 282">
            <a:extLst>
              <a:ext uri="{FF2B5EF4-FFF2-40B4-BE49-F238E27FC236}">
                <a16:creationId xmlns:a16="http://schemas.microsoft.com/office/drawing/2014/main" id="{D0C424FD-6529-41AD-AA69-A663B1662DBB}"/>
              </a:ext>
            </a:extLst>
          </p:cNvPr>
          <p:cNvSpPr/>
          <p:nvPr/>
        </p:nvSpPr>
        <p:spPr>
          <a:xfrm>
            <a:off x="80374" y="1294654"/>
            <a:ext cx="10588788" cy="7131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56" name="Flowchart: Connector 155">
            <a:extLst>
              <a:ext uri="{FF2B5EF4-FFF2-40B4-BE49-F238E27FC236}">
                <a16:creationId xmlns:a16="http://schemas.microsoft.com/office/drawing/2014/main" id="{2E5D5532-EC2A-45E8-83B7-B35F9E21B751}"/>
              </a:ext>
              <a:ext uri="{C183D7F6-B498-43B3-948B-1728B52AA6E4}">
                <adec:decorative xmlns:adec="http://schemas.microsoft.com/office/drawing/2017/decorative" val="0"/>
              </a:ext>
            </a:extLst>
          </p:cNvPr>
          <p:cNvSpPr/>
          <p:nvPr/>
        </p:nvSpPr>
        <p:spPr>
          <a:xfrm>
            <a:off x="3165" y="2007796"/>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3</a:t>
            </a:r>
          </a:p>
        </p:txBody>
      </p:sp>
      <p:sp>
        <p:nvSpPr>
          <p:cNvPr id="284" name="TextBox 283">
            <a:extLst>
              <a:ext uri="{FF2B5EF4-FFF2-40B4-BE49-F238E27FC236}">
                <a16:creationId xmlns:a16="http://schemas.microsoft.com/office/drawing/2014/main" id="{8545D3FB-966F-43CB-A873-B5CF8A94F6DC}"/>
              </a:ext>
            </a:extLst>
          </p:cNvPr>
          <p:cNvSpPr txBox="1"/>
          <p:nvPr/>
        </p:nvSpPr>
        <p:spPr>
          <a:xfrm>
            <a:off x="250460" y="1266249"/>
            <a:ext cx="14922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Management </a:t>
            </a:r>
          </a:p>
        </p:txBody>
      </p:sp>
      <p:sp>
        <p:nvSpPr>
          <p:cNvPr id="285" name="Flowchart: Connector 284">
            <a:extLst>
              <a:ext uri="{FF2B5EF4-FFF2-40B4-BE49-F238E27FC236}">
                <a16:creationId xmlns:a16="http://schemas.microsoft.com/office/drawing/2014/main" id="{BA2A7481-CCDF-491E-B5CC-C5F0EF64E805}"/>
              </a:ext>
              <a:ext uri="{C183D7F6-B498-43B3-948B-1728B52AA6E4}">
                <adec:decorative xmlns:adec="http://schemas.microsoft.com/office/drawing/2017/decorative" val="0"/>
              </a:ext>
            </a:extLst>
          </p:cNvPr>
          <p:cNvSpPr/>
          <p:nvPr/>
        </p:nvSpPr>
        <p:spPr>
          <a:xfrm>
            <a:off x="16572" y="1259095"/>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1</a:t>
            </a:r>
          </a:p>
        </p:txBody>
      </p:sp>
      <p:sp>
        <p:nvSpPr>
          <p:cNvPr id="288" name="Rectangle 287">
            <a:extLst>
              <a:ext uri="{FF2B5EF4-FFF2-40B4-BE49-F238E27FC236}">
                <a16:creationId xmlns:a16="http://schemas.microsoft.com/office/drawing/2014/main" id="{F6CAAE50-CBD0-4BB0-AE25-35F4E383814D}"/>
              </a:ext>
            </a:extLst>
          </p:cNvPr>
          <p:cNvSpPr/>
          <p:nvPr/>
        </p:nvSpPr>
        <p:spPr>
          <a:xfrm>
            <a:off x="119336" y="1556792"/>
            <a:ext cx="10478443" cy="456158"/>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89" name="Rectangle 288">
            <a:extLst>
              <a:ext uri="{FF2B5EF4-FFF2-40B4-BE49-F238E27FC236}">
                <a16:creationId xmlns:a16="http://schemas.microsoft.com/office/drawing/2014/main" id="{DA4D3A38-108B-4F57-A49B-08520686EAD4}"/>
              </a:ext>
            </a:extLst>
          </p:cNvPr>
          <p:cNvSpPr/>
          <p:nvPr/>
        </p:nvSpPr>
        <p:spPr>
          <a:xfrm>
            <a:off x="171628" y="16764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1 Network Monitor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0" name="Rectangle 289">
            <a:extLst>
              <a:ext uri="{FF2B5EF4-FFF2-40B4-BE49-F238E27FC236}">
                <a16:creationId xmlns:a16="http://schemas.microsoft.com/office/drawing/2014/main" id="{2E6A3D11-9108-4AC7-87DD-073DEA0F1900}"/>
              </a:ext>
            </a:extLst>
          </p:cNvPr>
          <p:cNvSpPr/>
          <p:nvPr/>
        </p:nvSpPr>
        <p:spPr>
          <a:xfrm>
            <a:off x="974642" y="16764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2 Resource Monitor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1" name="Rectangle 290">
            <a:extLst>
              <a:ext uri="{FF2B5EF4-FFF2-40B4-BE49-F238E27FC236}">
                <a16:creationId xmlns:a16="http://schemas.microsoft.com/office/drawing/2014/main" id="{F2ADE1E6-5F04-4B3E-B301-FE76D1DA5286}"/>
              </a:ext>
            </a:extLst>
          </p:cNvPr>
          <p:cNvSpPr/>
          <p:nvPr/>
        </p:nvSpPr>
        <p:spPr>
          <a:xfrm>
            <a:off x="1698824" y="1676401"/>
            <a:ext cx="902134" cy="26399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3 Configuration Change Managemen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2" name="Rectangle 291">
            <a:extLst>
              <a:ext uri="{FF2B5EF4-FFF2-40B4-BE49-F238E27FC236}">
                <a16:creationId xmlns:a16="http://schemas.microsoft.com/office/drawing/2014/main" id="{2D4A87ED-4F6A-4C5E-83FD-848855E13923}"/>
              </a:ext>
            </a:extLst>
          </p:cNvPr>
          <p:cNvSpPr/>
          <p:nvPr/>
        </p:nvSpPr>
        <p:spPr>
          <a:xfrm>
            <a:off x="2651606" y="16764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4 Cloud API Log Service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3" name="Rectangle 292">
            <a:extLst>
              <a:ext uri="{FF2B5EF4-FFF2-40B4-BE49-F238E27FC236}">
                <a16:creationId xmlns:a16="http://schemas.microsoft.com/office/drawing/2014/main" id="{9DA64EC9-226B-47C0-8A40-B4A99A82E9A8}"/>
              </a:ext>
            </a:extLst>
          </p:cNvPr>
          <p:cNvSpPr/>
          <p:nvPr/>
        </p:nvSpPr>
        <p:spPr>
          <a:xfrm>
            <a:off x="3375788" y="1676401"/>
            <a:ext cx="799540"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5 Operations Analytics &amp; Insight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4" name="Rectangle 293">
            <a:extLst>
              <a:ext uri="{FF2B5EF4-FFF2-40B4-BE49-F238E27FC236}">
                <a16:creationId xmlns:a16="http://schemas.microsoft.com/office/drawing/2014/main" id="{824954BE-1F22-47A5-AA3C-8BB6E3E99A6A}"/>
              </a:ext>
            </a:extLst>
          </p:cNvPr>
          <p:cNvSpPr/>
          <p:nvPr/>
        </p:nvSpPr>
        <p:spPr>
          <a:xfrm>
            <a:off x="4214270" y="16764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6 Exception Report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5" name="Rectangle 294">
            <a:extLst>
              <a:ext uri="{FF2B5EF4-FFF2-40B4-BE49-F238E27FC236}">
                <a16:creationId xmlns:a16="http://schemas.microsoft.com/office/drawing/2014/main" id="{40894A65-84BF-4B73-AB7D-428C21ACD9EC}"/>
              </a:ext>
            </a:extLst>
          </p:cNvPr>
          <p:cNvSpPr/>
          <p:nvPr/>
        </p:nvSpPr>
        <p:spPr>
          <a:xfrm>
            <a:off x="4938452" y="1676401"/>
            <a:ext cx="676656" cy="270210"/>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7 Service Catalo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17" name="TextBox 316">
            <a:extLst>
              <a:ext uri="{FF2B5EF4-FFF2-40B4-BE49-F238E27FC236}">
                <a16:creationId xmlns:a16="http://schemas.microsoft.com/office/drawing/2014/main" id="{54DAA748-42E5-41C2-AF1C-7F5F9053F920}"/>
              </a:ext>
            </a:extLst>
          </p:cNvPr>
          <p:cNvSpPr txBox="1"/>
          <p:nvPr/>
        </p:nvSpPr>
        <p:spPr>
          <a:xfrm>
            <a:off x="119336" y="1508637"/>
            <a:ext cx="2658745" cy="2182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1.1   Management and Automation Services</a:t>
            </a:r>
          </a:p>
        </p:txBody>
      </p:sp>
      <p:sp>
        <p:nvSpPr>
          <p:cNvPr id="220" name="Rectangle 219">
            <a:extLst>
              <a:ext uri="{FF2B5EF4-FFF2-40B4-BE49-F238E27FC236}">
                <a16:creationId xmlns:a16="http://schemas.microsoft.com/office/drawing/2014/main" id="{11AC825E-D627-45E9-85FF-6A58BEE49119}"/>
              </a:ext>
            </a:extLst>
          </p:cNvPr>
          <p:cNvSpPr/>
          <p:nvPr/>
        </p:nvSpPr>
        <p:spPr>
          <a:xfrm>
            <a:off x="171018" y="2404531"/>
            <a:ext cx="655462"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1 Bare Metal/ Dedicated Compute </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1" name="Rectangle 220">
            <a:extLst>
              <a:ext uri="{FF2B5EF4-FFF2-40B4-BE49-F238E27FC236}">
                <a16:creationId xmlns:a16="http://schemas.microsoft.com/office/drawing/2014/main" id="{F410DE05-0A9D-4FDC-878A-CA148F603BAD}"/>
              </a:ext>
            </a:extLst>
          </p:cNvPr>
          <p:cNvSpPr/>
          <p:nvPr/>
        </p:nvSpPr>
        <p:spPr>
          <a:xfrm>
            <a:off x="815217" y="2404531"/>
            <a:ext cx="655462"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2 Virtual Server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2" name="Rectangle 221">
            <a:extLst>
              <a:ext uri="{FF2B5EF4-FFF2-40B4-BE49-F238E27FC236}">
                <a16:creationId xmlns:a16="http://schemas.microsoft.com/office/drawing/2014/main" id="{93785FE4-8DB9-490A-99C5-C3629D7BE0A6}"/>
              </a:ext>
            </a:extLst>
          </p:cNvPr>
          <p:cNvSpPr/>
          <p:nvPr/>
        </p:nvSpPr>
        <p:spPr>
          <a:xfrm>
            <a:off x="1460179" y="2411352"/>
            <a:ext cx="926165"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schemeClr val="tx1"/>
                </a:solidFill>
                <a:latin typeface="Graphik" panose="020B0503030202060203" pitchFamily="34" charset="0"/>
                <a:ea typeface="Tahoma" panose="020B0604030504040204" pitchFamily="34" charset="0"/>
                <a:cs typeface="Tahoma" panose="020B0604030504040204" pitchFamily="34" charset="0"/>
              </a:rPr>
              <a:t>3.1.3 Container Hosting, Orchestration &amp; Compute</a:t>
            </a:r>
          </a:p>
        </p:txBody>
      </p:sp>
      <p:sp>
        <p:nvSpPr>
          <p:cNvPr id="223" name="Rectangle 222">
            <a:extLst>
              <a:ext uri="{FF2B5EF4-FFF2-40B4-BE49-F238E27FC236}">
                <a16:creationId xmlns:a16="http://schemas.microsoft.com/office/drawing/2014/main" id="{3710255E-F31D-45E2-9FA9-A132D8E0278B}"/>
              </a:ext>
            </a:extLst>
          </p:cNvPr>
          <p:cNvSpPr/>
          <p:nvPr/>
        </p:nvSpPr>
        <p:spPr>
          <a:xfrm>
            <a:off x="2374318" y="2404531"/>
            <a:ext cx="572507"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4 Container Registr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4" name="Rectangle 223">
            <a:extLst>
              <a:ext uri="{FF2B5EF4-FFF2-40B4-BE49-F238E27FC236}">
                <a16:creationId xmlns:a16="http://schemas.microsoft.com/office/drawing/2014/main" id="{2C1412E9-7FA6-4AE3-8523-3124622303C2}"/>
              </a:ext>
            </a:extLst>
          </p:cNvPr>
          <p:cNvSpPr/>
          <p:nvPr/>
        </p:nvSpPr>
        <p:spPr>
          <a:xfrm>
            <a:off x="2965428" y="2404531"/>
            <a:ext cx="572507"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5 Batch Process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5" name="Rectangle 224">
            <a:extLst>
              <a:ext uri="{FF2B5EF4-FFF2-40B4-BE49-F238E27FC236}">
                <a16:creationId xmlns:a16="http://schemas.microsoft.com/office/drawing/2014/main" id="{FD955147-CBB8-46F3-9A43-8E7F7267EF1A}"/>
              </a:ext>
            </a:extLst>
          </p:cNvPr>
          <p:cNvSpPr/>
          <p:nvPr/>
        </p:nvSpPr>
        <p:spPr>
          <a:xfrm>
            <a:off x="3556538" y="2404531"/>
            <a:ext cx="617732"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6 Event-Based Comput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6" name="Rectangle 225">
            <a:extLst>
              <a:ext uri="{FF2B5EF4-FFF2-40B4-BE49-F238E27FC236}">
                <a16:creationId xmlns:a16="http://schemas.microsoft.com/office/drawing/2014/main" id="{7B1E98FF-0A54-432F-A836-CD118C23CE61}"/>
              </a:ext>
            </a:extLst>
          </p:cNvPr>
          <p:cNvSpPr/>
          <p:nvPr/>
        </p:nvSpPr>
        <p:spPr>
          <a:xfrm>
            <a:off x="4192873" y="2404531"/>
            <a:ext cx="617733"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7 Scalabilit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27" name="Rectangle 169">
            <a:extLst>
              <a:ext uri="{FF2B5EF4-FFF2-40B4-BE49-F238E27FC236}">
                <a16:creationId xmlns:a16="http://schemas.microsoft.com/office/drawing/2014/main" id="{0E0AD5B0-E467-4F0F-BA29-124B55C15B98}"/>
              </a:ext>
            </a:extLst>
          </p:cNvPr>
          <p:cNvSpPr/>
          <p:nvPr/>
        </p:nvSpPr>
        <p:spPr>
          <a:xfrm>
            <a:off x="4829209" y="2404531"/>
            <a:ext cx="582058"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1.8 Simple Compute</a:t>
            </a:r>
          </a:p>
        </p:txBody>
      </p:sp>
      <p:sp>
        <p:nvSpPr>
          <p:cNvPr id="194" name="Flowchart: Connector 193">
            <a:extLst>
              <a:ext uri="{FF2B5EF4-FFF2-40B4-BE49-F238E27FC236}">
                <a16:creationId xmlns:a16="http://schemas.microsoft.com/office/drawing/2014/main" id="{02D2AC4E-422B-4944-AB44-8AEDA7D07548}"/>
              </a:ext>
              <a:ext uri="{C183D7F6-B498-43B3-948B-1728B52AA6E4}">
                <adec:decorative xmlns:adec="http://schemas.microsoft.com/office/drawing/2017/decorative" val="0"/>
              </a:ext>
            </a:extLst>
          </p:cNvPr>
          <p:cNvSpPr/>
          <p:nvPr/>
        </p:nvSpPr>
        <p:spPr>
          <a:xfrm>
            <a:off x="-16081" y="104560"/>
            <a:ext cx="270100"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0</a:t>
            </a:r>
          </a:p>
        </p:txBody>
      </p:sp>
      <p:sp>
        <p:nvSpPr>
          <p:cNvPr id="232" name="Rectangle 231">
            <a:extLst>
              <a:ext uri="{FF2B5EF4-FFF2-40B4-BE49-F238E27FC236}">
                <a16:creationId xmlns:a16="http://schemas.microsoft.com/office/drawing/2014/main" id="{AD0382FA-0823-4B94-BB3A-F8F4A8F41CB3}"/>
              </a:ext>
            </a:extLst>
          </p:cNvPr>
          <p:cNvSpPr/>
          <p:nvPr/>
        </p:nvSpPr>
        <p:spPr>
          <a:xfrm>
            <a:off x="80373" y="4640109"/>
            <a:ext cx="10593967" cy="20645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233" name="TextBox 232">
            <a:extLst>
              <a:ext uri="{FF2B5EF4-FFF2-40B4-BE49-F238E27FC236}">
                <a16:creationId xmlns:a16="http://schemas.microsoft.com/office/drawing/2014/main" id="{5C2E9B3E-06BB-4B71-A55E-14EFC74DC8E9}"/>
              </a:ext>
            </a:extLst>
          </p:cNvPr>
          <p:cNvSpPr txBox="1"/>
          <p:nvPr/>
        </p:nvSpPr>
        <p:spPr>
          <a:xfrm>
            <a:off x="80375" y="4588481"/>
            <a:ext cx="17108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30A0"/>
                </a:solidFill>
                <a:effectLst/>
                <a:uLnTx/>
                <a:uFillTx/>
                <a:latin typeface="Graphik" panose="020B0503030202060203" pitchFamily="34" charset="0"/>
                <a:ea typeface="+mn-ea"/>
                <a:cs typeface="+mn-cs"/>
              </a:rPr>
              <a:t>Cloud Applications </a:t>
            </a:r>
          </a:p>
        </p:txBody>
      </p:sp>
      <p:sp>
        <p:nvSpPr>
          <p:cNvPr id="350" name="Rectangle 349">
            <a:extLst>
              <a:ext uri="{FF2B5EF4-FFF2-40B4-BE49-F238E27FC236}">
                <a16:creationId xmlns:a16="http://schemas.microsoft.com/office/drawing/2014/main" id="{6E35A762-1F38-4589-A5B7-90CFCFD9BDF0}"/>
              </a:ext>
            </a:extLst>
          </p:cNvPr>
          <p:cNvSpPr/>
          <p:nvPr/>
        </p:nvSpPr>
        <p:spPr>
          <a:xfrm>
            <a:off x="133969" y="5326448"/>
            <a:ext cx="10463444" cy="805681"/>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351" name="Rectangle 350">
            <a:extLst>
              <a:ext uri="{FF2B5EF4-FFF2-40B4-BE49-F238E27FC236}">
                <a16:creationId xmlns:a16="http://schemas.microsoft.com/office/drawing/2014/main" id="{0828070E-976A-4FD9-97FC-549785F1A2F5}"/>
              </a:ext>
            </a:extLst>
          </p:cNvPr>
          <p:cNvSpPr/>
          <p:nvPr/>
        </p:nvSpPr>
        <p:spPr>
          <a:xfrm>
            <a:off x="831038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8 Cloud ID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2" name="Rectangle 351">
            <a:extLst>
              <a:ext uri="{FF2B5EF4-FFF2-40B4-BE49-F238E27FC236}">
                <a16:creationId xmlns:a16="http://schemas.microsoft.com/office/drawing/2014/main" id="{97CC0166-F046-425F-8291-E997556BF8AD}"/>
              </a:ext>
            </a:extLst>
          </p:cNvPr>
          <p:cNvSpPr/>
          <p:nvPr/>
        </p:nvSpPr>
        <p:spPr>
          <a:xfrm>
            <a:off x="9473071"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9 API Mgm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3" name="Rectangle 352">
            <a:extLst>
              <a:ext uri="{FF2B5EF4-FFF2-40B4-BE49-F238E27FC236}">
                <a16:creationId xmlns:a16="http://schemas.microsoft.com/office/drawing/2014/main" id="{5E0914AE-BF11-45D2-9C4B-D336495D1E47}"/>
              </a:ext>
            </a:extLst>
          </p:cNvPr>
          <p:cNvSpPr/>
          <p:nvPr/>
        </p:nvSpPr>
        <p:spPr>
          <a:xfrm>
            <a:off x="169466" y="5832862"/>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0 API App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4" name="Rectangle 353">
            <a:extLst>
              <a:ext uri="{FF2B5EF4-FFF2-40B4-BE49-F238E27FC236}">
                <a16:creationId xmlns:a16="http://schemas.microsoft.com/office/drawing/2014/main" id="{CED90EF2-1E53-4B49-A283-EA3988199392}"/>
              </a:ext>
            </a:extLst>
          </p:cNvPr>
          <p:cNvSpPr/>
          <p:nvPr/>
        </p:nvSpPr>
        <p:spPr>
          <a:xfrm>
            <a:off x="1334422" y="5831077"/>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1 Build Autom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5" name="Rectangle 354">
            <a:extLst>
              <a:ext uri="{FF2B5EF4-FFF2-40B4-BE49-F238E27FC236}">
                <a16:creationId xmlns:a16="http://schemas.microsoft.com/office/drawing/2014/main" id="{FDCE27AD-D64B-46D7-8D54-258E97F38B04}"/>
              </a:ext>
            </a:extLst>
          </p:cNvPr>
          <p:cNvSpPr/>
          <p:nvPr/>
        </p:nvSpPr>
        <p:spPr>
          <a:xfrm>
            <a:off x="2499378" y="5829811"/>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2 Code Analysi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6" name="Rectangle 355">
            <a:extLst>
              <a:ext uri="{FF2B5EF4-FFF2-40B4-BE49-F238E27FC236}">
                <a16:creationId xmlns:a16="http://schemas.microsoft.com/office/drawing/2014/main" id="{020ED234-C109-4EB4-8F0E-C845A3888E60}"/>
              </a:ext>
            </a:extLst>
          </p:cNvPr>
          <p:cNvSpPr/>
          <p:nvPr/>
        </p:nvSpPr>
        <p:spPr>
          <a:xfrm>
            <a:off x="3664334" y="5829811"/>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3 Continuous Delivery</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7" name="Rectangle 356">
            <a:extLst>
              <a:ext uri="{FF2B5EF4-FFF2-40B4-BE49-F238E27FC236}">
                <a16:creationId xmlns:a16="http://schemas.microsoft.com/office/drawing/2014/main" id="{AF4983E8-9CD6-4D07-81B4-A5600B2F45B0}"/>
              </a:ext>
            </a:extLst>
          </p:cNvPr>
          <p:cNvSpPr/>
          <p:nvPr/>
        </p:nvSpPr>
        <p:spPr>
          <a:xfrm>
            <a:off x="4829291" y="5831077"/>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4 Game Developmen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58" name="TextBox 357">
            <a:extLst>
              <a:ext uri="{FF2B5EF4-FFF2-40B4-BE49-F238E27FC236}">
                <a16:creationId xmlns:a16="http://schemas.microsoft.com/office/drawing/2014/main" id="{C91FC61B-565C-4273-9155-7FBCE5E7BD10}"/>
              </a:ext>
            </a:extLst>
          </p:cNvPr>
          <p:cNvSpPr txBox="1"/>
          <p:nvPr/>
        </p:nvSpPr>
        <p:spPr>
          <a:xfrm>
            <a:off x="119336" y="5318799"/>
            <a:ext cx="26587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5</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2 Development Services </a:t>
            </a:r>
          </a:p>
        </p:txBody>
      </p:sp>
      <p:sp>
        <p:nvSpPr>
          <p:cNvPr id="360" name="Rectangle 359">
            <a:extLst>
              <a:ext uri="{FF2B5EF4-FFF2-40B4-BE49-F238E27FC236}">
                <a16:creationId xmlns:a16="http://schemas.microsoft.com/office/drawing/2014/main" id="{F5826A12-54CB-4F0F-9A08-F3A538EB0F51}"/>
              </a:ext>
            </a:extLst>
          </p:cNvPr>
          <p:cNvSpPr/>
          <p:nvPr/>
        </p:nvSpPr>
        <p:spPr>
          <a:xfrm>
            <a:off x="133969" y="4822259"/>
            <a:ext cx="10463443" cy="456158"/>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361" name="Rectangle 360">
            <a:extLst>
              <a:ext uri="{FF2B5EF4-FFF2-40B4-BE49-F238E27FC236}">
                <a16:creationId xmlns:a16="http://schemas.microsoft.com/office/drawing/2014/main" id="{D90EC5B3-6E99-46E3-BE9A-9C009D776310}"/>
              </a:ext>
            </a:extLst>
          </p:cNvPr>
          <p:cNvSpPr/>
          <p:nvPr/>
        </p:nvSpPr>
        <p:spPr>
          <a:xfrm>
            <a:off x="172310" y="4958719"/>
            <a:ext cx="1619967" cy="25888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1.1 App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Hosting Paa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65" name="Rectangle 364">
            <a:extLst>
              <a:ext uri="{FF2B5EF4-FFF2-40B4-BE49-F238E27FC236}">
                <a16:creationId xmlns:a16="http://schemas.microsoft.com/office/drawing/2014/main" id="{82CAC892-4AA0-4B72-A358-E80354C81D0E}"/>
              </a:ext>
            </a:extLst>
          </p:cNvPr>
          <p:cNvSpPr/>
          <p:nvPr/>
        </p:nvSpPr>
        <p:spPr>
          <a:xfrm>
            <a:off x="1926421" y="4958719"/>
            <a:ext cx="1619967" cy="25888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1.2 Messaging Servic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66" name="Rectangle 365">
            <a:extLst>
              <a:ext uri="{FF2B5EF4-FFF2-40B4-BE49-F238E27FC236}">
                <a16:creationId xmlns:a16="http://schemas.microsoft.com/office/drawing/2014/main" id="{821F849B-4AB6-4E67-815C-AB2F6FB3C8D6}"/>
              </a:ext>
            </a:extLst>
          </p:cNvPr>
          <p:cNvSpPr/>
          <p:nvPr/>
        </p:nvSpPr>
        <p:spPr>
          <a:xfrm>
            <a:off x="3680532" y="4958719"/>
            <a:ext cx="1619967" cy="25888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1.3 Workflow Servic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67" name="Rectangle 366">
            <a:extLst>
              <a:ext uri="{FF2B5EF4-FFF2-40B4-BE49-F238E27FC236}">
                <a16:creationId xmlns:a16="http://schemas.microsoft.com/office/drawing/2014/main" id="{E5BBD3AA-5681-423C-82D3-6DF146CB0CE9}"/>
              </a:ext>
            </a:extLst>
          </p:cNvPr>
          <p:cNvSpPr/>
          <p:nvPr/>
        </p:nvSpPr>
        <p:spPr>
          <a:xfrm>
            <a:off x="5434643" y="4958719"/>
            <a:ext cx="1619967" cy="25888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prstClr val="black"/>
                </a:solidFill>
                <a:latin typeface="Graphik" panose="020B0503030202060203" pitchFamily="34" charset="0"/>
                <a:ea typeface="Tahoma" panose="020B0604030504040204" pitchFamily="34" charset="0"/>
                <a:cs typeface="Tahoma" panose="020B0604030504040204" pitchFamily="34" charset="0"/>
              </a:rPr>
              <a:t>5.1.4 </a:t>
            </a: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Notification Service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68" name="Rectangle 169">
            <a:extLst>
              <a:ext uri="{FF2B5EF4-FFF2-40B4-BE49-F238E27FC236}">
                <a16:creationId xmlns:a16="http://schemas.microsoft.com/office/drawing/2014/main" id="{32A2B2BF-89FE-4306-A719-DA96F3F7882D}"/>
              </a:ext>
            </a:extLst>
          </p:cNvPr>
          <p:cNvSpPr/>
          <p:nvPr/>
        </p:nvSpPr>
        <p:spPr>
          <a:xfrm>
            <a:off x="7188754" y="4958719"/>
            <a:ext cx="1619967" cy="258888"/>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1.5 Managed Search</a:t>
            </a:r>
          </a:p>
        </p:txBody>
      </p:sp>
      <p:sp>
        <p:nvSpPr>
          <p:cNvPr id="369" name="TextBox 368">
            <a:extLst>
              <a:ext uri="{FF2B5EF4-FFF2-40B4-BE49-F238E27FC236}">
                <a16:creationId xmlns:a16="http://schemas.microsoft.com/office/drawing/2014/main" id="{2927EDEE-7B6E-4888-9333-8D34668E62C8}"/>
              </a:ext>
            </a:extLst>
          </p:cNvPr>
          <p:cNvSpPr txBox="1"/>
          <p:nvPr/>
        </p:nvSpPr>
        <p:spPr>
          <a:xfrm>
            <a:off x="119336" y="4782505"/>
            <a:ext cx="2658745" cy="2182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5</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1   Application  Services </a:t>
            </a:r>
          </a:p>
        </p:txBody>
      </p:sp>
      <p:sp>
        <p:nvSpPr>
          <p:cNvPr id="234" name="Flowchart: Connector 233">
            <a:extLst>
              <a:ext uri="{FF2B5EF4-FFF2-40B4-BE49-F238E27FC236}">
                <a16:creationId xmlns:a16="http://schemas.microsoft.com/office/drawing/2014/main" id="{3543B78E-FB2A-4096-847E-F9B0769576E0}"/>
              </a:ext>
              <a:ext uri="{C183D7F6-B498-43B3-948B-1728B52AA6E4}">
                <adec:decorative xmlns:adec="http://schemas.microsoft.com/office/drawing/2017/decorative" val="0"/>
              </a:ext>
            </a:extLst>
          </p:cNvPr>
          <p:cNvSpPr/>
          <p:nvPr/>
        </p:nvSpPr>
        <p:spPr>
          <a:xfrm>
            <a:off x="39986" y="4578670"/>
            <a:ext cx="266633" cy="256032"/>
          </a:xfrm>
          <a:prstGeom prst="flowChartConnector">
            <a:avLst/>
          </a:prstGeom>
          <a:solidFill>
            <a:srgbClr val="750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Graphik" panose="020B0503030202060203" pitchFamily="34" charset="0"/>
                <a:ea typeface="+mn-ea"/>
                <a:cs typeface="+mn-cs"/>
              </a:rPr>
              <a:t>5</a:t>
            </a:r>
          </a:p>
        </p:txBody>
      </p:sp>
      <p:sp>
        <p:nvSpPr>
          <p:cNvPr id="155" name="Rectangle 154">
            <a:extLst>
              <a:ext uri="{FF2B5EF4-FFF2-40B4-BE49-F238E27FC236}">
                <a16:creationId xmlns:a16="http://schemas.microsoft.com/office/drawing/2014/main" id="{6FCCE1EE-0AE1-4701-A05A-2F7E0F911D68}"/>
              </a:ext>
            </a:extLst>
          </p:cNvPr>
          <p:cNvSpPr/>
          <p:nvPr/>
        </p:nvSpPr>
        <p:spPr>
          <a:xfrm>
            <a:off x="17162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1 App Deploy Automatio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57" name="Rectangle 156">
            <a:extLst>
              <a:ext uri="{FF2B5EF4-FFF2-40B4-BE49-F238E27FC236}">
                <a16:creationId xmlns:a16="http://schemas.microsoft.com/office/drawing/2014/main" id="{DFDAE6F9-F576-47EA-B03D-F3B71D5CB184}"/>
              </a:ext>
            </a:extLst>
          </p:cNvPr>
          <p:cNvSpPr/>
          <p:nvPr/>
        </p:nvSpPr>
        <p:spPr>
          <a:xfrm>
            <a:off x="133430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2 Distributed App</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58" name="Rectangle 157">
            <a:extLst>
              <a:ext uri="{FF2B5EF4-FFF2-40B4-BE49-F238E27FC236}">
                <a16:creationId xmlns:a16="http://schemas.microsoft.com/office/drawing/2014/main" id="{4808F123-1169-43B1-9B38-26927C9D5F05}"/>
              </a:ext>
            </a:extLst>
          </p:cNvPr>
          <p:cNvSpPr/>
          <p:nvPr/>
        </p:nvSpPr>
        <p:spPr>
          <a:xfrm>
            <a:off x="249698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3 A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Testing</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59" name="Rectangle 158">
            <a:extLst>
              <a:ext uri="{FF2B5EF4-FFF2-40B4-BE49-F238E27FC236}">
                <a16:creationId xmlns:a16="http://schemas.microsoft.com/office/drawing/2014/main" id="{E5BBFE9E-0A3B-4422-8AF5-FD2CB224AF57}"/>
              </a:ext>
            </a:extLst>
          </p:cNvPr>
          <p:cNvSpPr/>
          <p:nvPr/>
        </p:nvSpPr>
        <p:spPr>
          <a:xfrm>
            <a:off x="365966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4 Dev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Pipeline </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60" name="Rectangle 159">
            <a:extLst>
              <a:ext uri="{FF2B5EF4-FFF2-40B4-BE49-F238E27FC236}">
                <a16:creationId xmlns:a16="http://schemas.microsoft.com/office/drawing/2014/main" id="{C1895DB2-D1A6-4AA5-BA73-A96B6FF2A762}"/>
              </a:ext>
            </a:extLst>
          </p:cNvPr>
          <p:cNvSpPr/>
          <p:nvPr/>
        </p:nvSpPr>
        <p:spPr>
          <a:xfrm>
            <a:off x="482234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5 Mic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service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63" name="Rectangle 162">
            <a:extLst>
              <a:ext uri="{FF2B5EF4-FFF2-40B4-BE49-F238E27FC236}">
                <a16:creationId xmlns:a16="http://schemas.microsoft.com/office/drawing/2014/main" id="{46AD3532-C279-43F1-902B-1E5E11056F9A}"/>
              </a:ext>
            </a:extLst>
          </p:cNvPr>
          <p:cNvSpPr/>
          <p:nvPr/>
        </p:nvSpPr>
        <p:spPr>
          <a:xfrm>
            <a:off x="133994" y="6184423"/>
            <a:ext cx="10456496" cy="467970"/>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161" name="Rectangle 160">
            <a:extLst>
              <a:ext uri="{FF2B5EF4-FFF2-40B4-BE49-F238E27FC236}">
                <a16:creationId xmlns:a16="http://schemas.microsoft.com/office/drawing/2014/main" id="{3759A274-9DFF-487A-88AC-B07ABC6F4D74}"/>
              </a:ext>
            </a:extLst>
          </p:cNvPr>
          <p:cNvSpPr/>
          <p:nvPr/>
        </p:nvSpPr>
        <p:spPr>
          <a:xfrm>
            <a:off x="598502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6 Managed 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Control</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162" name="Rectangle 161">
            <a:extLst>
              <a:ext uri="{FF2B5EF4-FFF2-40B4-BE49-F238E27FC236}">
                <a16:creationId xmlns:a16="http://schemas.microsoft.com/office/drawing/2014/main" id="{4160CDCF-AB6E-4D3D-8E15-BFE8958657D9}"/>
              </a:ext>
            </a:extLst>
          </p:cNvPr>
          <p:cNvSpPr/>
          <p:nvPr/>
        </p:nvSpPr>
        <p:spPr>
          <a:xfrm>
            <a:off x="7147708" y="5510245"/>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2.7 We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 Apps</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397" name="TextBox 396">
            <a:extLst>
              <a:ext uri="{FF2B5EF4-FFF2-40B4-BE49-F238E27FC236}">
                <a16:creationId xmlns:a16="http://schemas.microsoft.com/office/drawing/2014/main" id="{4BA9FBEF-D80C-46F2-95E9-7D0CF3AE1CE6}"/>
              </a:ext>
            </a:extLst>
          </p:cNvPr>
          <p:cNvSpPr txBox="1"/>
          <p:nvPr/>
        </p:nvSpPr>
        <p:spPr>
          <a:xfrm>
            <a:off x="119336" y="6166067"/>
            <a:ext cx="2658745" cy="2182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solidFill>
                  <a:prstClr val="black"/>
                </a:solidFill>
                <a:latin typeface="Graphik" panose="020B0503030202060203" pitchFamily="34" charset="0"/>
              </a:rPr>
              <a:t>5</a:t>
            </a: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3  Innovation Services </a:t>
            </a:r>
          </a:p>
        </p:txBody>
      </p:sp>
      <p:sp>
        <p:nvSpPr>
          <p:cNvPr id="296" name="Rectangle 295">
            <a:extLst>
              <a:ext uri="{FF2B5EF4-FFF2-40B4-BE49-F238E27FC236}">
                <a16:creationId xmlns:a16="http://schemas.microsoft.com/office/drawing/2014/main" id="{CBF7E0AC-1CDA-47DE-B261-52AEE3121CE0}"/>
              </a:ext>
            </a:extLst>
          </p:cNvPr>
          <p:cNvSpPr/>
          <p:nvPr/>
        </p:nvSpPr>
        <p:spPr>
          <a:xfrm>
            <a:off x="169190" y="6355834"/>
            <a:ext cx="744322"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3.1 AR/VR</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7" name="Rectangle 296">
            <a:extLst>
              <a:ext uri="{FF2B5EF4-FFF2-40B4-BE49-F238E27FC236}">
                <a16:creationId xmlns:a16="http://schemas.microsoft.com/office/drawing/2014/main" id="{E8D3F18B-6433-4056-B738-F82D81B228E9}"/>
              </a:ext>
            </a:extLst>
          </p:cNvPr>
          <p:cNvSpPr/>
          <p:nvPr/>
        </p:nvSpPr>
        <p:spPr>
          <a:xfrm>
            <a:off x="1028889" y="6355834"/>
            <a:ext cx="744322"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3.2 Edge Compute</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8" name="Rectangle 297">
            <a:extLst>
              <a:ext uri="{FF2B5EF4-FFF2-40B4-BE49-F238E27FC236}">
                <a16:creationId xmlns:a16="http://schemas.microsoft.com/office/drawing/2014/main" id="{B73ABF3B-412A-4798-A81C-B8E7242452D3}"/>
              </a:ext>
            </a:extLst>
          </p:cNvPr>
          <p:cNvSpPr/>
          <p:nvPr/>
        </p:nvSpPr>
        <p:spPr>
          <a:xfrm>
            <a:off x="1888588" y="6355834"/>
            <a:ext cx="744322"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3.3 IOT</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
        <p:nvSpPr>
          <p:cNvPr id="299" name="Rectangle 298">
            <a:extLst>
              <a:ext uri="{FF2B5EF4-FFF2-40B4-BE49-F238E27FC236}">
                <a16:creationId xmlns:a16="http://schemas.microsoft.com/office/drawing/2014/main" id="{F0475DC1-EF71-4723-92D8-E0175534357B}"/>
              </a:ext>
            </a:extLst>
          </p:cNvPr>
          <p:cNvSpPr/>
          <p:nvPr/>
        </p:nvSpPr>
        <p:spPr>
          <a:xfrm>
            <a:off x="2748287" y="6355834"/>
            <a:ext cx="744322"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Tahoma" panose="020B0604030504040204" pitchFamily="34" charset="0"/>
                <a:cs typeface="Tahoma" panose="020B0604030504040204" pitchFamily="34" charset="0"/>
              </a:rPr>
              <a:t>5.3.4 Blockchain</a:t>
            </a:r>
            <a:endPar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grpSp>
        <p:nvGrpSpPr>
          <p:cNvPr id="2" name="Group 1">
            <a:extLst>
              <a:ext uri="{FF2B5EF4-FFF2-40B4-BE49-F238E27FC236}">
                <a16:creationId xmlns:a16="http://schemas.microsoft.com/office/drawing/2014/main" id="{34D374F3-8E60-4470-A7A4-02E51EF50300}"/>
              </a:ext>
            </a:extLst>
          </p:cNvPr>
          <p:cNvGrpSpPr/>
          <p:nvPr/>
        </p:nvGrpSpPr>
        <p:grpSpPr>
          <a:xfrm>
            <a:off x="3775642" y="286960"/>
            <a:ext cx="2191209" cy="894075"/>
            <a:chOff x="5484821" y="286960"/>
            <a:chExt cx="1434127" cy="894075"/>
          </a:xfrm>
        </p:grpSpPr>
        <p:sp>
          <p:nvSpPr>
            <p:cNvPr id="192" name="Rectangle 191">
              <a:extLst>
                <a:ext uri="{FF2B5EF4-FFF2-40B4-BE49-F238E27FC236}">
                  <a16:creationId xmlns:a16="http://schemas.microsoft.com/office/drawing/2014/main" id="{9326CDCF-D252-4D33-8707-0051C627BB1D}"/>
                </a:ext>
              </a:extLst>
            </p:cNvPr>
            <p:cNvSpPr/>
            <p:nvPr/>
          </p:nvSpPr>
          <p:spPr>
            <a:xfrm>
              <a:off x="5484821" y="286960"/>
              <a:ext cx="1434127" cy="89407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0.3 Cloud Portfolio and Demand Mgmt.</a:t>
              </a:r>
            </a:p>
          </p:txBody>
        </p:sp>
        <p:sp>
          <p:nvSpPr>
            <p:cNvPr id="206" name="Rectangle 205">
              <a:extLst>
                <a:ext uri="{FF2B5EF4-FFF2-40B4-BE49-F238E27FC236}">
                  <a16:creationId xmlns:a16="http://schemas.microsoft.com/office/drawing/2014/main" id="{3993CB87-C937-4AD6-86F5-63B05579F539}"/>
                </a:ext>
              </a:extLst>
            </p:cNvPr>
            <p:cNvSpPr/>
            <p:nvPr/>
          </p:nvSpPr>
          <p:spPr>
            <a:xfrm>
              <a:off x="5511692" y="755368"/>
              <a:ext cx="1386146" cy="122566"/>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3.2 Demand Mgmt.</a:t>
              </a:r>
            </a:p>
          </p:txBody>
        </p:sp>
        <p:sp>
          <p:nvSpPr>
            <p:cNvPr id="208" name="Rectangle 207">
              <a:extLst>
                <a:ext uri="{FF2B5EF4-FFF2-40B4-BE49-F238E27FC236}">
                  <a16:creationId xmlns:a16="http://schemas.microsoft.com/office/drawing/2014/main" id="{5CD88F64-8F5F-4224-8BD0-3D748F8152BB}"/>
                </a:ext>
              </a:extLst>
            </p:cNvPr>
            <p:cNvSpPr/>
            <p:nvPr/>
          </p:nvSpPr>
          <p:spPr>
            <a:xfrm>
              <a:off x="5511692" y="605057"/>
              <a:ext cx="1386146" cy="120666"/>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3.1 Business Relationship &amp; Change Mgmt.</a:t>
              </a:r>
            </a:p>
          </p:txBody>
        </p:sp>
        <p:sp>
          <p:nvSpPr>
            <p:cNvPr id="202" name="Rectangle 201">
              <a:extLst>
                <a:ext uri="{FF2B5EF4-FFF2-40B4-BE49-F238E27FC236}">
                  <a16:creationId xmlns:a16="http://schemas.microsoft.com/office/drawing/2014/main" id="{7D48C424-127E-4017-BB8E-9F8573D12116}"/>
                </a:ext>
              </a:extLst>
            </p:cNvPr>
            <p:cNvSpPr/>
            <p:nvPr/>
          </p:nvSpPr>
          <p:spPr>
            <a:xfrm>
              <a:off x="5511692" y="913161"/>
              <a:ext cx="1386146" cy="94749"/>
            </a:xfrm>
            <a:prstGeom prst="rect">
              <a:avLst/>
            </a:prstGeom>
            <a:solidFill>
              <a:schemeClr val="bg1">
                <a:lumMod val="8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3.3 Service Portfolio Mgmt.</a:t>
              </a:r>
            </a:p>
          </p:txBody>
        </p:sp>
      </p:grpSp>
      <p:sp>
        <p:nvSpPr>
          <p:cNvPr id="169" name="Rectangle 168">
            <a:extLst>
              <a:ext uri="{FF2B5EF4-FFF2-40B4-BE49-F238E27FC236}">
                <a16:creationId xmlns:a16="http://schemas.microsoft.com/office/drawing/2014/main" id="{15395A1E-77E1-4C11-B434-4A9F0957672A}"/>
              </a:ext>
            </a:extLst>
          </p:cNvPr>
          <p:cNvSpPr/>
          <p:nvPr/>
        </p:nvSpPr>
        <p:spPr>
          <a:xfrm>
            <a:off x="1790276" y="286960"/>
            <a:ext cx="1816911" cy="89407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0.2 Cloud Architecture and Operations</a:t>
            </a:r>
          </a:p>
        </p:txBody>
      </p:sp>
      <p:sp>
        <p:nvSpPr>
          <p:cNvPr id="170" name="Rectangle 169">
            <a:extLst>
              <a:ext uri="{FF2B5EF4-FFF2-40B4-BE49-F238E27FC236}">
                <a16:creationId xmlns:a16="http://schemas.microsoft.com/office/drawing/2014/main" id="{E2542F0F-7819-40ED-94D4-4B89A966177D}"/>
              </a:ext>
            </a:extLst>
          </p:cNvPr>
          <p:cNvSpPr/>
          <p:nvPr/>
        </p:nvSpPr>
        <p:spPr>
          <a:xfrm>
            <a:off x="1834905" y="557266"/>
            <a:ext cx="1735389" cy="121839"/>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2.1 Cloud Platform &amp; Service Arch</a:t>
            </a:r>
          </a:p>
        </p:txBody>
      </p:sp>
      <p:grpSp>
        <p:nvGrpSpPr>
          <p:cNvPr id="3" name="Group 2">
            <a:extLst>
              <a:ext uri="{FF2B5EF4-FFF2-40B4-BE49-F238E27FC236}">
                <a16:creationId xmlns:a16="http://schemas.microsoft.com/office/drawing/2014/main" id="{CA7B3BDE-7DD9-4AE6-B9EF-0AD52004D406}"/>
              </a:ext>
            </a:extLst>
          </p:cNvPr>
          <p:cNvGrpSpPr/>
          <p:nvPr/>
        </p:nvGrpSpPr>
        <p:grpSpPr>
          <a:xfrm>
            <a:off x="6102690" y="295419"/>
            <a:ext cx="1898310" cy="894075"/>
            <a:chOff x="6102690" y="295419"/>
            <a:chExt cx="1898310" cy="894075"/>
          </a:xfrm>
        </p:grpSpPr>
        <p:sp>
          <p:nvSpPr>
            <p:cNvPr id="189" name="Rectangle 188">
              <a:extLst>
                <a:ext uri="{FF2B5EF4-FFF2-40B4-BE49-F238E27FC236}">
                  <a16:creationId xmlns:a16="http://schemas.microsoft.com/office/drawing/2014/main" id="{391320DA-82C6-433B-95CF-7D86832C05AC}"/>
                </a:ext>
              </a:extLst>
            </p:cNvPr>
            <p:cNvSpPr/>
            <p:nvPr/>
          </p:nvSpPr>
          <p:spPr>
            <a:xfrm>
              <a:off x="6102690" y="295419"/>
              <a:ext cx="1898310" cy="894075"/>
            </a:xfrm>
            <a:prstGeom prst="rect">
              <a:avLst/>
            </a:prstGeom>
            <a:solidFill>
              <a:schemeClr val="bg1"/>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0.4 Cloud Mgmt. Governance</a:t>
              </a:r>
            </a:p>
          </p:txBody>
        </p:sp>
        <p:sp>
          <p:nvSpPr>
            <p:cNvPr id="195" name="Rectangle 194">
              <a:extLst>
                <a:ext uri="{FF2B5EF4-FFF2-40B4-BE49-F238E27FC236}">
                  <a16:creationId xmlns:a16="http://schemas.microsoft.com/office/drawing/2014/main" id="{CE7DD3C6-A8A5-4E93-966F-7E436E8FA0CF}"/>
                </a:ext>
              </a:extLst>
            </p:cNvPr>
            <p:cNvSpPr/>
            <p:nvPr/>
          </p:nvSpPr>
          <p:spPr>
            <a:xfrm>
              <a:off x="6166698" y="602080"/>
              <a:ext cx="1735388" cy="979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rPr>
                <a:t>0.4.1 Cloud FinOps</a:t>
              </a:r>
            </a:p>
          </p:txBody>
        </p:sp>
        <p:sp>
          <p:nvSpPr>
            <p:cNvPr id="197" name="Rectangle 196">
              <a:extLst>
                <a:ext uri="{FF2B5EF4-FFF2-40B4-BE49-F238E27FC236}">
                  <a16:creationId xmlns:a16="http://schemas.microsoft.com/office/drawing/2014/main" id="{B6995373-6443-46A4-B64E-66D3E01CC60B}"/>
                </a:ext>
              </a:extLst>
            </p:cNvPr>
            <p:cNvSpPr/>
            <p:nvPr/>
          </p:nvSpPr>
          <p:spPr>
            <a:xfrm>
              <a:off x="6166698" y="742971"/>
              <a:ext cx="1735388" cy="959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prstClr val="black"/>
                  </a:solidFill>
                  <a:effectLst/>
                  <a:uLnTx/>
                  <a:uFillTx/>
                  <a:latin typeface="Graphik" panose="020B0503030202060203" pitchFamily="34" charset="0"/>
                  <a:ea typeface="+mn-ea"/>
                  <a:cs typeface="+mn-cs"/>
                </a:rPr>
                <a:t>0.4.2 Cloud Workforce Mgmt.</a:t>
              </a:r>
            </a:p>
          </p:txBody>
        </p:sp>
        <p:sp>
          <p:nvSpPr>
            <p:cNvPr id="200" name="Rectangle 199">
              <a:extLst>
                <a:ext uri="{FF2B5EF4-FFF2-40B4-BE49-F238E27FC236}">
                  <a16:creationId xmlns:a16="http://schemas.microsoft.com/office/drawing/2014/main" id="{597AB7C4-D222-41EA-A4D1-3474FD7B02C4}"/>
                </a:ext>
              </a:extLst>
            </p:cNvPr>
            <p:cNvSpPr/>
            <p:nvPr/>
          </p:nvSpPr>
          <p:spPr>
            <a:xfrm>
              <a:off x="6166698" y="881107"/>
              <a:ext cx="1735389" cy="118695"/>
            </a:xfrm>
            <a:prstGeom prst="rect">
              <a:avLst/>
            </a:prstGeom>
            <a:solidFill>
              <a:schemeClr val="bg1">
                <a:lumMod val="85000"/>
              </a:schemeClr>
            </a:solidFill>
            <a:ln w="25400" cap="flat" cmpd="sng" algn="ctr">
              <a:noFill/>
              <a:prstDash val="solid"/>
            </a:ln>
            <a:effectLst/>
          </p:spPr>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    0.4.3 Cloud Arch Governance &amp; Advisory</a:t>
              </a:r>
            </a:p>
          </p:txBody>
        </p:sp>
      </p:grpSp>
      <p:sp>
        <p:nvSpPr>
          <p:cNvPr id="282" name="Rectangle 281">
            <a:extLst>
              <a:ext uri="{FF2B5EF4-FFF2-40B4-BE49-F238E27FC236}">
                <a16:creationId xmlns:a16="http://schemas.microsoft.com/office/drawing/2014/main" id="{99A48126-9976-470B-B089-F59183561B7D}"/>
              </a:ext>
            </a:extLst>
          </p:cNvPr>
          <p:cNvSpPr/>
          <p:nvPr/>
        </p:nvSpPr>
        <p:spPr>
          <a:xfrm>
            <a:off x="1834905" y="708056"/>
            <a:ext cx="1735389" cy="118695"/>
          </a:xfrm>
          <a:prstGeom prst="rect">
            <a:avLst/>
          </a:prstGeom>
          <a:solidFill>
            <a:schemeClr val="bg1">
              <a:lumMod val="85000"/>
            </a:schemeClr>
          </a:solidFill>
          <a:ln w="25400"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2.2 Cloud Landing Zones</a:t>
            </a:r>
          </a:p>
        </p:txBody>
      </p:sp>
      <p:sp>
        <p:nvSpPr>
          <p:cNvPr id="286" name="Rectangle 285">
            <a:extLst>
              <a:ext uri="{FF2B5EF4-FFF2-40B4-BE49-F238E27FC236}">
                <a16:creationId xmlns:a16="http://schemas.microsoft.com/office/drawing/2014/main" id="{77BA0039-B0B4-4B7E-BA3D-DC6D33CAB86A}"/>
              </a:ext>
            </a:extLst>
          </p:cNvPr>
          <p:cNvSpPr/>
          <p:nvPr/>
        </p:nvSpPr>
        <p:spPr>
          <a:xfrm>
            <a:off x="1834905" y="848143"/>
            <a:ext cx="1735389" cy="118695"/>
          </a:xfrm>
          <a:prstGeom prst="rect">
            <a:avLst/>
          </a:prstGeom>
          <a:solidFill>
            <a:schemeClr val="bg1">
              <a:lumMod val="8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0.2.3 Cloud Operations</a:t>
            </a:r>
          </a:p>
        </p:txBody>
      </p:sp>
      <p:sp>
        <p:nvSpPr>
          <p:cNvPr id="153" name="Rectangle 152">
            <a:extLst>
              <a:ext uri="{FF2B5EF4-FFF2-40B4-BE49-F238E27FC236}">
                <a16:creationId xmlns:a16="http://schemas.microsoft.com/office/drawing/2014/main" id="{7F2D53DB-DC66-4BEA-8F2D-09C02BD13D92}"/>
              </a:ext>
            </a:extLst>
          </p:cNvPr>
          <p:cNvSpPr/>
          <p:nvPr/>
        </p:nvSpPr>
        <p:spPr>
          <a:xfrm>
            <a:off x="5105346" y="4119101"/>
            <a:ext cx="664946" cy="260839"/>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schemeClr val="tx1"/>
                </a:solidFill>
                <a:effectLst/>
                <a:uLnTx/>
                <a:uFillTx/>
                <a:latin typeface="Graphik" panose="020B0503030202060203" pitchFamily="34" charset="0"/>
                <a:ea typeface="Tahoma" panose="020B0604030504040204" pitchFamily="34" charset="0"/>
                <a:cs typeface="Tahoma" panose="020B0604030504040204" pitchFamily="34" charset="0"/>
              </a:rPr>
              <a:t>4.3.8 Data Lake</a:t>
            </a:r>
          </a:p>
        </p:txBody>
      </p:sp>
      <p:sp>
        <p:nvSpPr>
          <p:cNvPr id="154" name="Rectangle 169">
            <a:extLst>
              <a:ext uri="{FF2B5EF4-FFF2-40B4-BE49-F238E27FC236}">
                <a16:creationId xmlns:a16="http://schemas.microsoft.com/office/drawing/2014/main" id="{F8ACA560-8B8E-4D04-A944-FCF20783721B}"/>
              </a:ext>
            </a:extLst>
          </p:cNvPr>
          <p:cNvSpPr/>
          <p:nvPr/>
        </p:nvSpPr>
        <p:spPr>
          <a:xfrm>
            <a:off x="5430634" y="2413675"/>
            <a:ext cx="622373" cy="260371"/>
          </a:xfrm>
          <a:prstGeom prst="rect">
            <a:avLst/>
          </a:prstGeom>
          <a:solidFill>
            <a:schemeClr val="bg1">
              <a:lumMod val="85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a:solidFill>
                  <a:schemeClr val="tx1"/>
                </a:solidFill>
                <a:latin typeface="Graphik" panose="020B0503030202060203" pitchFamily="34" charset="0"/>
                <a:ea typeface="Tahoma" panose="020B0604030504040204" pitchFamily="34" charset="0"/>
                <a:cs typeface="Tahoma" panose="020B0604030504040204" pitchFamily="34" charset="0"/>
              </a:rPr>
              <a:t>3</a:t>
            </a:r>
            <a:r>
              <a:rPr kumimoji="0" lang="en-US" sz="650" b="0" i="0" u="none" strike="noStrike" kern="1200" cap="none" spc="0" normalizeH="0" baseline="0" noProof="0">
                <a:ln>
                  <a:noFill/>
                </a:ln>
                <a:solidFill>
                  <a:schemeClr val="tx1"/>
                </a:solidFill>
                <a:effectLst/>
                <a:uLnTx/>
                <a:uFillTx/>
                <a:latin typeface="Graphik" panose="020B0503030202060203" pitchFamily="34" charset="0"/>
                <a:ea typeface="Tahoma" panose="020B0604030504040204" pitchFamily="34" charset="0"/>
                <a:cs typeface="Tahoma" panose="020B0604030504040204" pitchFamily="34" charset="0"/>
              </a:rPr>
              <a:t>.1.9 High Performance  Compute</a:t>
            </a:r>
          </a:p>
        </p:txBody>
      </p:sp>
      <p:sp>
        <p:nvSpPr>
          <p:cNvPr id="165" name="Rectangle 164">
            <a:extLst>
              <a:ext uri="{FF2B5EF4-FFF2-40B4-BE49-F238E27FC236}">
                <a16:creationId xmlns:a16="http://schemas.microsoft.com/office/drawing/2014/main" id="{4FE685EC-3F33-40BD-B155-F8454BF764C6}"/>
              </a:ext>
            </a:extLst>
          </p:cNvPr>
          <p:cNvSpPr/>
          <p:nvPr/>
        </p:nvSpPr>
        <p:spPr>
          <a:xfrm>
            <a:off x="5980446" y="5848714"/>
            <a:ext cx="1089761" cy="262770"/>
          </a:xfrm>
          <a:prstGeom prst="rect">
            <a:avLst/>
          </a:prstGeom>
          <a:solidFill>
            <a:schemeClr val="bg1">
              <a:lumMod val="85000"/>
              <a:alpha val="7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1200" cap="none" spc="0" normalizeH="0" baseline="0" noProof="0">
                <a:ln>
                  <a:noFill/>
                </a:ln>
                <a:solidFill>
                  <a:schemeClr val="tx1"/>
                </a:solidFill>
                <a:effectLst/>
                <a:uLnTx/>
                <a:uFillTx/>
                <a:latin typeface="Graphik" panose="020B0503030202060203" pitchFamily="34" charset="0"/>
                <a:ea typeface="Tahoma" panose="020B0604030504040204" pitchFamily="34" charset="0"/>
                <a:cs typeface="Tahoma" panose="020B0604030504040204" pitchFamily="34" charset="0"/>
              </a:rPr>
              <a:t>5.2.15 App Performance Monitoring </a:t>
            </a:r>
            <a:endParaRPr kumimoji="0" lang="en-US" sz="650" b="0" i="0" u="none" strike="noStrike" kern="1200" cap="none" spc="0" normalizeH="0" baseline="0" noProof="0">
              <a:ln>
                <a:noFill/>
              </a:ln>
              <a:solidFill>
                <a:schemeClr val="tx1"/>
              </a:solidFill>
              <a:effectLst/>
              <a:uLnTx/>
              <a:uFillTx/>
              <a:latin typeface="Graphik" panose="020B0503030202060203" pitchFamily="34" charset="0"/>
              <a:ea typeface="+mn-ea"/>
              <a:cs typeface="+mn-cs"/>
            </a:endParaRPr>
          </a:p>
        </p:txBody>
      </p:sp>
      <p:sp>
        <p:nvSpPr>
          <p:cNvPr id="167" name="Rectangle 166">
            <a:extLst>
              <a:ext uri="{FF2B5EF4-FFF2-40B4-BE49-F238E27FC236}">
                <a16:creationId xmlns:a16="http://schemas.microsoft.com/office/drawing/2014/main" id="{A50CC791-F89F-41C9-9399-838FE6421EB4}"/>
              </a:ext>
            </a:extLst>
          </p:cNvPr>
          <p:cNvSpPr/>
          <p:nvPr/>
        </p:nvSpPr>
        <p:spPr>
          <a:xfrm>
            <a:off x="6166697" y="1038028"/>
            <a:ext cx="1735389" cy="118695"/>
          </a:xfrm>
          <a:prstGeom prst="rect">
            <a:avLst/>
          </a:prstGeom>
          <a:solidFill>
            <a:schemeClr val="bg1">
              <a:lumMod val="85000"/>
            </a:schemeClr>
          </a:solidFill>
          <a:ln w="25400" cap="flat" cmpd="sng" algn="ctr">
            <a:noFill/>
            <a:prstDash val="solid"/>
          </a:ln>
          <a:effectLst/>
        </p:spPr>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650" b="0" i="0" u="none" strike="noStrike" kern="0" cap="none" spc="0" normalizeH="0" baseline="0" noProof="0">
                <a:ln>
                  <a:noFill/>
                </a:ln>
                <a:solidFill>
                  <a:prstClr val="black"/>
                </a:solidFill>
                <a:effectLst/>
                <a:uLnTx/>
                <a:uFillTx/>
                <a:latin typeface="Graphik" panose="020B0503030202060203" pitchFamily="34" charset="0"/>
                <a:ea typeface="+mn-ea"/>
                <a:cs typeface="+mn-cs"/>
              </a:rPr>
              <a:t>    0.4.4 Cloud Environment Governance</a:t>
            </a:r>
          </a:p>
        </p:txBody>
      </p:sp>
    </p:spTree>
    <p:extLst>
      <p:ext uri="{BB962C8B-B14F-4D97-AF65-F5344CB8AC3E}">
        <p14:creationId xmlns:p14="http://schemas.microsoft.com/office/powerpoint/2010/main" val="236971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a:t>Business Capabilities Reference Architecture </a:t>
            </a:r>
            <a:br>
              <a:rPr lang="en-US"/>
            </a:br>
            <a:endParaRPr lang="en-US"/>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a:solidFill>
                  <a:schemeClr val="accent1"/>
                </a:solidFill>
              </a:rPr>
              <a:t>0. </a:t>
            </a:r>
            <a:r>
              <a:rPr kumimoji="0" lang="en-US" sz="1400" b="1" i="0" u="none" strike="noStrike" kern="1200" cap="none" spc="0" normalizeH="0" baseline="0" noProof="0">
                <a:ln>
                  <a:noFill/>
                </a:ln>
                <a:solidFill>
                  <a:schemeClr val="accent1"/>
                </a:solidFill>
                <a:effectLst/>
                <a:uLnTx/>
                <a:uFillTx/>
                <a:latin typeface="Graphik" panose="020B0503030202060203" pitchFamily="34" charset="0"/>
                <a:ea typeface="+mn-ea"/>
                <a:cs typeface="+mn-cs"/>
              </a:rPr>
              <a:t>Cloud Organization &amp; Operating Model  Enablers</a:t>
            </a:r>
            <a:r>
              <a:rPr lang="en-US" b="1">
                <a:solidFill>
                  <a:schemeClr val="accent1"/>
                </a:solidFill>
              </a:rPr>
              <a:t> (1/4)</a:t>
            </a:r>
            <a:endParaRPr lang="en-ZA" b="1">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4" y="1440443"/>
            <a:ext cx="3086099" cy="452437"/>
          </a:xfrm>
        </p:spPr>
        <p:txBody>
          <a:bodyPr>
            <a:normAutofit/>
          </a:bodyPr>
          <a:lstStyle/>
          <a:p>
            <a:r>
              <a:rPr lang="en-US"/>
              <a:t>0.1 </a:t>
            </a:r>
            <a:r>
              <a:rPr lang="en-US">
                <a:solidFill>
                  <a:prstClr val="black"/>
                </a:solidFill>
                <a:latin typeface="Graphik" panose="020B0503030202060203" pitchFamily="34" charset="0"/>
              </a:rPr>
              <a:t>Cloud Strategy &amp; Transformation</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5" y="1742961"/>
            <a:ext cx="5400675"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a:solidFill>
                  <a:schemeClr val="bg1"/>
                </a:solidFill>
              </a:rPr>
              <a:t>0</a:t>
            </a:r>
            <a:r>
              <a:rPr lang="en-US" sz="1000" u="none" strike="noStrike">
                <a:solidFill>
                  <a:schemeClr val="bg1"/>
                </a:solidFill>
                <a:effectLst/>
                <a:latin typeface="+mn-lt"/>
              </a:rPr>
              <a:t>.1.1 </a:t>
            </a: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Strategy and Roadmap</a:t>
            </a:r>
          </a:p>
        </p:txBody>
      </p:sp>
      <p:sp>
        <p:nvSpPr>
          <p:cNvPr id="23" name="Rectangle 22">
            <a:extLst>
              <a:ext uri="{FF2B5EF4-FFF2-40B4-BE49-F238E27FC236}">
                <a16:creationId xmlns:a16="http://schemas.microsoft.com/office/drawing/2014/main" id="{1C06B414-FC51-41C8-8FB0-3B8CBF313D11}"/>
              </a:ext>
            </a:extLst>
          </p:cNvPr>
          <p:cNvSpPr/>
          <p:nvPr/>
        </p:nvSpPr>
        <p:spPr>
          <a:xfrm>
            <a:off x="1890256"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u="none" strike="noStrike">
                <a:solidFill>
                  <a:schemeClr val="bg1"/>
                </a:solidFill>
                <a:effectLst/>
                <a:latin typeface="+mn-lt"/>
              </a:rPr>
              <a:t>0.1.2 </a:t>
            </a: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Investment Planning</a:t>
            </a:r>
          </a:p>
        </p:txBody>
      </p:sp>
      <p:sp>
        <p:nvSpPr>
          <p:cNvPr id="26" name="Rectangle 25">
            <a:extLst>
              <a:ext uri="{FF2B5EF4-FFF2-40B4-BE49-F238E27FC236}">
                <a16:creationId xmlns:a16="http://schemas.microsoft.com/office/drawing/2014/main" id="{4F7FFED5-22BA-47DE-898F-A456A970819E}"/>
              </a:ext>
            </a:extLst>
          </p:cNvPr>
          <p:cNvSpPr/>
          <p:nvPr/>
        </p:nvSpPr>
        <p:spPr>
          <a:xfrm>
            <a:off x="2921761"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0.1.3 </a:t>
            </a: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Platform Definition</a:t>
            </a:r>
          </a:p>
        </p:txBody>
      </p:sp>
      <p:sp>
        <p:nvSpPr>
          <p:cNvPr id="27" name="Rectangle 26">
            <a:extLst>
              <a:ext uri="{FF2B5EF4-FFF2-40B4-BE49-F238E27FC236}">
                <a16:creationId xmlns:a16="http://schemas.microsoft.com/office/drawing/2014/main" id="{33A613B4-48EB-4627-B175-58670DFB733D}"/>
              </a:ext>
            </a:extLst>
          </p:cNvPr>
          <p:cNvSpPr/>
          <p:nvPr/>
        </p:nvSpPr>
        <p:spPr>
          <a:xfrm>
            <a:off x="3953266"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0.1.4 </a:t>
            </a: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DevSecOps &amp; Agile Strategy</a:t>
            </a:r>
          </a:p>
        </p:txBody>
      </p:sp>
      <p:sp>
        <p:nvSpPr>
          <p:cNvPr id="29" name="Rectangle 28">
            <a:extLst>
              <a:ext uri="{FF2B5EF4-FFF2-40B4-BE49-F238E27FC236}">
                <a16:creationId xmlns:a16="http://schemas.microsoft.com/office/drawing/2014/main" id="{7D9E0D87-988B-41ED-A7F2-8BECCAA22274}"/>
              </a:ext>
            </a:extLst>
          </p:cNvPr>
          <p:cNvSpPr/>
          <p:nvPr/>
        </p:nvSpPr>
        <p:spPr>
          <a:xfrm>
            <a:off x="4981709"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000" b="0" i="0" u="none" strike="noStrike">
                <a:solidFill>
                  <a:schemeClr val="bg1"/>
                </a:solidFill>
                <a:effectLst/>
                <a:latin typeface="+mn-lt"/>
              </a:rPr>
              <a:t>0.1.5 </a:t>
            </a: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Innovation Strategy</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3543797456"/>
              </p:ext>
            </p:extLst>
          </p:nvPr>
        </p:nvGraphicFramePr>
        <p:xfrm>
          <a:off x="695325" y="2732659"/>
          <a:ext cx="11362914" cy="3052122"/>
        </p:xfrm>
        <a:graphic>
          <a:graphicData uri="http://schemas.openxmlformats.org/drawingml/2006/table">
            <a:tbl>
              <a:tblPr firstRow="1" firstCol="1">
                <a:tableStyleId>{3B4B98B0-60AC-42C2-AFA5-B58CD77FA1E5}</a:tableStyleId>
              </a:tblPr>
              <a:tblGrid>
                <a:gridCol w="1678612">
                  <a:extLst>
                    <a:ext uri="{9D8B030D-6E8A-4147-A177-3AD203B41FA5}">
                      <a16:colId xmlns:a16="http://schemas.microsoft.com/office/drawing/2014/main" val="20000"/>
                    </a:ext>
                  </a:extLst>
                </a:gridCol>
                <a:gridCol w="1698442">
                  <a:extLst>
                    <a:ext uri="{9D8B030D-6E8A-4147-A177-3AD203B41FA5}">
                      <a16:colId xmlns:a16="http://schemas.microsoft.com/office/drawing/2014/main" val="20001"/>
                    </a:ext>
                  </a:extLst>
                </a:gridCol>
                <a:gridCol w="7985860">
                  <a:extLst>
                    <a:ext uri="{9D8B030D-6E8A-4147-A177-3AD203B41FA5}">
                      <a16:colId xmlns:a16="http://schemas.microsoft.com/office/drawing/2014/main" val="20002"/>
                    </a:ext>
                  </a:extLst>
                </a:gridCol>
              </a:tblGrid>
              <a:tr h="210893">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 Domain</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Application</a:t>
                      </a:r>
                      <a:r>
                        <a:rPr lang="en-US" sz="1000" kern="1200" baseline="0">
                          <a:latin typeface="+mn-lt"/>
                        </a:rPr>
                        <a:t> </a:t>
                      </a:r>
                      <a:r>
                        <a:rPr lang="en-US" sz="1000" kern="1200">
                          <a:latin typeface="+mn-lt"/>
                        </a:rPr>
                        <a:t>Block</a:t>
                      </a:r>
                      <a:endParaRPr lang="en-US" sz="1000" b="1" kern="1200">
                        <a:solidFill>
                          <a:srgbClr val="4F81BD"/>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latin typeface="+mn-lt"/>
                        </a:rPr>
                        <a:t>Description</a:t>
                      </a:r>
                      <a:endParaRPr lang="en-US" sz="1000" b="1" kern="1200">
                        <a:solidFill>
                          <a:srgbClr val="4F81BD"/>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783801">
                <a:tc rowSpan="5">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r>
                        <a:rPr lang="en-US" sz="1000">
                          <a:solidFill>
                            <a:schemeClr val="tx1"/>
                          </a:solidFill>
                          <a:latin typeface="+mn-lt"/>
                        </a:rPr>
                        <a:t>0.1 </a:t>
                      </a:r>
                      <a:r>
                        <a:rPr lang="en-US" sz="1000">
                          <a:solidFill>
                            <a:prstClr val="black"/>
                          </a:solidFill>
                          <a:latin typeface="+mn-lt"/>
                        </a:rPr>
                        <a:t>Cloud Strategy &amp; Transformation </a:t>
                      </a:r>
                      <a:endParaRPr lang="en-US" sz="1000">
                        <a:solidFill>
                          <a:schemeClr val="tx1"/>
                        </a:solidFill>
                        <a:latin typeface="+mn-lt"/>
                      </a:endParaRPr>
                    </a:p>
                  </a:txBody>
                  <a:tcPr marL="72000" marR="72000" marT="36000" marB="36000"/>
                </a:tc>
                <a:tc>
                  <a:txBody>
                    <a:bodyPr/>
                    <a:lstStyle/>
                    <a:p>
                      <a:pPr algn="l" fontAlgn="b"/>
                      <a:r>
                        <a:rPr lang="en-US" sz="1000" u="none" strike="noStrike">
                          <a:solidFill>
                            <a:schemeClr val="tx1"/>
                          </a:solidFill>
                          <a:effectLst/>
                          <a:latin typeface="+mn-lt"/>
                        </a:rPr>
                        <a:t>0.1.1 </a:t>
                      </a:r>
                      <a:r>
                        <a:rPr kumimoji="0" lang="en-GB" sz="1000" b="0" i="0" u="none" strike="noStrike" kern="0" cap="none" spc="0" normalizeH="0" baseline="0" noProof="0">
                          <a:ln>
                            <a:noFill/>
                          </a:ln>
                          <a:solidFill>
                            <a:schemeClr val="tx1"/>
                          </a:solidFill>
                          <a:effectLst/>
                          <a:uLnTx/>
                          <a:uFillTx/>
                          <a:latin typeface="+mn-lt"/>
                          <a:ea typeface="+mn-ea"/>
                          <a:cs typeface="+mn-cs"/>
                        </a:rPr>
                        <a:t>Strategy and Roadmap</a:t>
                      </a:r>
                      <a:endParaRPr lang="en-US" sz="1000" b="0" i="0" u="none" strike="noStrike">
                        <a:solidFill>
                          <a:schemeClr val="tx1"/>
                        </a:solidFill>
                        <a:effectLst/>
                        <a:latin typeface="+mn-lt"/>
                      </a:endParaRP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r>
                        <a:rPr lang="en-GB" sz="1000" i="0" kern="1200">
                          <a:solidFill>
                            <a:schemeClr val="tx1"/>
                          </a:solidFill>
                          <a:latin typeface="+mn-lt"/>
                          <a:ea typeface="+mn-ea"/>
                          <a:cs typeface="+mn-cs"/>
                        </a:rPr>
                        <a:t>Define, shape, and structure the overall cloud strategy (including considerations around cloud management platforms, cloud platform selection, hybrid and multi-cloud strategies, cloud exit strategies </a:t>
                      </a:r>
                      <a:r>
                        <a:rPr lang="en-GB" sz="1000" i="1" kern="1200">
                          <a:solidFill>
                            <a:schemeClr val="tx1"/>
                          </a:solidFill>
                          <a:latin typeface="+mn-lt"/>
                          <a:ea typeface="+mn-ea"/>
                          <a:cs typeface="+mn-cs"/>
                        </a:rPr>
                        <a:t>etc</a:t>
                      </a:r>
                      <a:r>
                        <a:rPr lang="en-GB" sz="1000" i="0" kern="1200">
                          <a:solidFill>
                            <a:schemeClr val="tx1"/>
                          </a:solidFill>
                          <a:latin typeface="+mn-lt"/>
                          <a:ea typeface="+mn-ea"/>
                          <a:cs typeface="+mn-cs"/>
                        </a:rPr>
                        <a:t>.). Design operating model, principles, and processes that are aligned to the required business outcomes; identify key initiatives and create roadmaps; perform gap analysis to inform a Target Operating Model; and communicate vision to stakeholders. Develop OKRs and monitor framework progress</a:t>
                      </a:r>
                    </a:p>
                  </a:txBody>
                  <a:tcPr marL="72000" marR="72000" marT="36000" marB="36000" anchor="ctr"/>
                </a:tc>
                <a:extLst>
                  <a:ext uri="{0D108BD9-81ED-4DB2-BD59-A6C34878D82A}">
                    <a16:rowId xmlns:a16="http://schemas.microsoft.com/office/drawing/2014/main" val="10001"/>
                  </a:ext>
                </a:extLst>
              </a:tr>
              <a:tr h="35412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u="none" strike="noStrike">
                          <a:solidFill>
                            <a:schemeClr val="tx1"/>
                          </a:solidFill>
                          <a:effectLst/>
                          <a:latin typeface="+mn-lt"/>
                        </a:rPr>
                        <a:t>0.1.2 </a:t>
                      </a:r>
                      <a:r>
                        <a:rPr kumimoji="0" lang="en-GB" sz="1000" b="0" i="0" u="none" strike="noStrike" kern="0" cap="none" spc="0" normalizeH="0" baseline="0" noProof="0">
                          <a:ln>
                            <a:noFill/>
                          </a:ln>
                          <a:solidFill>
                            <a:schemeClr val="tx1"/>
                          </a:solidFill>
                          <a:effectLst/>
                          <a:uLnTx/>
                          <a:uFillTx/>
                          <a:latin typeface="+mn-lt"/>
                          <a:ea typeface="+mn-ea"/>
                          <a:cs typeface="+mn-cs"/>
                        </a:rPr>
                        <a:t>Investment Planning</a:t>
                      </a:r>
                    </a:p>
                  </a:txBody>
                  <a:tcPr marL="72000" marR="72000" marT="36000" marB="36000"/>
                </a:tc>
                <a:tc>
                  <a:txBody>
                    <a:bodyPr/>
                    <a:lstStyle/>
                    <a:p>
                      <a:pPr algn="l" fontAlgn="b"/>
                      <a:r>
                        <a:rPr lang="en-GB" sz="1000" b="0" i="0" kern="1200">
                          <a:solidFill>
                            <a:schemeClr val="tx1"/>
                          </a:solidFill>
                          <a:latin typeface="+mn-lt"/>
                          <a:ea typeface="+mn-ea"/>
                          <a:cs typeface="+mn-cs"/>
                        </a:rPr>
                        <a:t>Plan</a:t>
                      </a:r>
                      <a:r>
                        <a:rPr lang="en-GB" sz="1000" i="0" kern="1200">
                          <a:solidFill>
                            <a:schemeClr val="tx1"/>
                          </a:solidFill>
                          <a:latin typeface="+mn-lt"/>
                          <a:ea typeface="+mn-ea"/>
                          <a:cs typeface="+mn-cs"/>
                        </a:rPr>
                        <a:t> and prioritise cloud budget in alignment with strategic objectives, roadmap and value outcomes, considering planned offerings, past investment, demand pipeline and relevant implications</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640574">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chemeClr val="tx1"/>
                          </a:solidFill>
                          <a:effectLst/>
                          <a:latin typeface="+mn-lt"/>
                        </a:rPr>
                        <a:t>0.1.3 </a:t>
                      </a:r>
                      <a:r>
                        <a:rPr kumimoji="0" lang="en-GB" sz="1000" b="0" i="0" u="none" strike="noStrike" kern="0" cap="none" spc="0" normalizeH="0" baseline="0" noProof="0">
                          <a:ln>
                            <a:noFill/>
                          </a:ln>
                          <a:solidFill>
                            <a:schemeClr val="tx1"/>
                          </a:solidFill>
                          <a:effectLst/>
                          <a:uLnTx/>
                          <a:uFillTx/>
                          <a:latin typeface="+mn-lt"/>
                          <a:ea typeface="+mn-ea"/>
                          <a:cs typeface="+mn-cs"/>
                        </a:rPr>
                        <a:t>Platform Definition</a:t>
                      </a:r>
                      <a:endParaRPr lang="en-US" sz="1000" b="0" i="0" u="none" strike="noStrike">
                        <a:solidFill>
                          <a:schemeClr val="tx1"/>
                        </a:solidFill>
                        <a:effectLst/>
                        <a:latin typeface="+mn-lt"/>
                      </a:endParaRPr>
                    </a:p>
                  </a:txBody>
                  <a:tcPr marL="72000" marR="72000" marT="36000" marB="36000"/>
                </a:tc>
                <a:tc>
                  <a:txBody>
                    <a:bodyPr/>
                    <a:lstStyle/>
                    <a:p>
                      <a:pPr marL="0" marR="0" lvl="0" indent="0" algn="l" defTabSz="914126"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kern="1200">
                          <a:solidFill>
                            <a:schemeClr val="tx1"/>
                          </a:solidFill>
                          <a:latin typeface="+mn-lt"/>
                          <a:ea typeface=""/>
                          <a:cs typeface=""/>
                        </a:rPr>
                        <a:t>Initial scoping and design of core enterprise cloud platform for example administrative rights, </a:t>
                      </a:r>
                      <a:r>
                        <a:rPr lang="en-GB" sz="1000" kern="1200" noProof="0">
                          <a:solidFill>
                            <a:schemeClr val="tx1"/>
                          </a:solidFill>
                          <a:latin typeface="+mn-lt"/>
                          <a:ea typeface="+mn-ea"/>
                          <a:cs typeface="Arial" panose="020B0604020202020204" pitchFamily="34" charset="0"/>
                        </a:rPr>
                        <a:t>Cloud Service Vetting</a:t>
                      </a:r>
                    </a:p>
                    <a:p>
                      <a:pPr marL="0" marR="0" lvl="0" indent="0" algn="l" defTabSz="914126"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000" kern="1200" noProof="0">
                          <a:solidFill>
                            <a:schemeClr val="tx1"/>
                          </a:solidFill>
                          <a:latin typeface="+mn-lt"/>
                          <a:ea typeface="+mn-ea"/>
                          <a:cs typeface="Arial" panose="020B0604020202020204" pitchFamily="34" charset="0"/>
                        </a:rPr>
                        <a:t>Billing &amp; metering process, Enterprise agreement, Account &amp; platform Strategies etc. </a:t>
                      </a:r>
                      <a:endParaRPr lang="en-US" sz="1000" kern="1200">
                        <a:solidFill>
                          <a:schemeClr val="tx1"/>
                        </a:solidFill>
                        <a:latin typeface="+mn-lt"/>
                        <a:ea typeface=""/>
                        <a:cs typeface=""/>
                      </a:endParaRPr>
                    </a:p>
                  </a:txBody>
                  <a:tcPr marL="72000" marR="72000" marT="36000" marB="36000" anchor="ctr"/>
                </a:tc>
                <a:extLst>
                  <a:ext uri="{0D108BD9-81ED-4DB2-BD59-A6C34878D82A}">
                    <a16:rowId xmlns:a16="http://schemas.microsoft.com/office/drawing/2014/main" val="2749173880"/>
                  </a:ext>
                </a:extLst>
              </a:tr>
              <a:tr h="497347">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chemeClr val="tx1"/>
                          </a:solidFill>
                          <a:effectLst/>
                          <a:latin typeface="+mn-lt"/>
                        </a:rPr>
                        <a:t>0.1.4 </a:t>
                      </a:r>
                      <a:r>
                        <a:rPr kumimoji="0" lang="en-GB" sz="1000" b="0" i="0" u="none" strike="noStrike" kern="0" cap="none" spc="0" normalizeH="0" baseline="0" noProof="0">
                          <a:ln>
                            <a:noFill/>
                          </a:ln>
                          <a:solidFill>
                            <a:schemeClr val="tx1"/>
                          </a:solidFill>
                          <a:effectLst/>
                          <a:uLnTx/>
                          <a:uFillTx/>
                          <a:latin typeface="+mn-lt"/>
                          <a:ea typeface="+mn-ea"/>
                          <a:cs typeface="+mn-cs"/>
                        </a:rPr>
                        <a:t>DevSecOps &amp; Agile Strategy</a:t>
                      </a:r>
                      <a:endParaRPr lang="en-US" sz="1000" b="0" i="0" u="none" strike="noStrike">
                        <a:solidFill>
                          <a:schemeClr val="tx1"/>
                        </a:solidFill>
                        <a:effectLst/>
                        <a:latin typeface="+mn-lt"/>
                      </a:endParaRPr>
                    </a:p>
                  </a:txBody>
                  <a:tcPr marL="72000" marR="72000" marT="36000" marB="36000"/>
                </a:tc>
                <a:tc>
                  <a:txBody>
                    <a:bodyPr/>
                    <a:lstStyle/>
                    <a:p>
                      <a:pPr algn="l" fontAlgn="b"/>
                      <a:r>
                        <a:rPr lang="en-GB" sz="1000" b="0" i="0" kern="1200">
                          <a:solidFill>
                            <a:schemeClr val="tx1"/>
                          </a:solidFill>
                          <a:latin typeface="+mn-lt"/>
                          <a:ea typeface="+mn-ea"/>
                          <a:cs typeface="+mn-cs"/>
                        </a:rPr>
                        <a:t>Align with overall organisational strategies and frameworks (if any) around </a:t>
                      </a:r>
                      <a:r>
                        <a:rPr lang="en-GB" sz="1000" b="0" i="0" kern="1200" err="1">
                          <a:solidFill>
                            <a:schemeClr val="tx1"/>
                          </a:solidFill>
                          <a:latin typeface="+mn-lt"/>
                          <a:ea typeface="+mn-ea"/>
                          <a:cs typeface="+mn-cs"/>
                        </a:rPr>
                        <a:t>DevSecOps</a:t>
                      </a:r>
                      <a:r>
                        <a:rPr lang="en-GB" sz="1000" b="0" i="0" kern="1200">
                          <a:solidFill>
                            <a:schemeClr val="tx1"/>
                          </a:solidFill>
                          <a:latin typeface="+mn-lt"/>
                          <a:ea typeface="+mn-ea"/>
                          <a:cs typeface="+mn-cs"/>
                        </a:rPr>
                        <a:t> / Agile / CICD. Define the desired process and frameworks; establishing guardrails for end-to-end toolset; build a roadmap for implementation</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2"/>
                  </a:ext>
                </a:extLst>
              </a:tr>
              <a:tr h="497347">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r>
                        <a:rPr lang="en-US" sz="1000" b="0" i="0" u="none" strike="noStrike">
                          <a:solidFill>
                            <a:schemeClr val="tx1"/>
                          </a:solidFill>
                          <a:effectLst/>
                          <a:latin typeface="+mn-lt"/>
                        </a:rPr>
                        <a:t>0.1.5 </a:t>
                      </a:r>
                      <a:r>
                        <a:rPr kumimoji="0" lang="en-GB" sz="1000" b="0" i="0" u="none" strike="noStrike" kern="0" cap="none" spc="0" normalizeH="0" baseline="0" noProof="0">
                          <a:ln>
                            <a:noFill/>
                          </a:ln>
                          <a:solidFill>
                            <a:schemeClr val="tx1"/>
                          </a:solidFill>
                          <a:effectLst/>
                          <a:uLnTx/>
                          <a:uFillTx/>
                          <a:latin typeface="+mn-lt"/>
                          <a:ea typeface="+mn-ea"/>
                          <a:cs typeface="+mn-cs"/>
                        </a:rPr>
                        <a:t>Innovation Strategy</a:t>
                      </a:r>
                      <a:endParaRPr lang="en-US" sz="1000" b="0" i="0" u="none" strike="noStrike">
                        <a:solidFill>
                          <a:schemeClr val="tx1"/>
                        </a:solidFill>
                        <a:effectLst/>
                        <a:latin typeface="+mn-lt"/>
                      </a:endParaRPr>
                    </a:p>
                  </a:txBody>
                  <a:tcPr marL="72000" marR="72000" marT="36000" marB="36000"/>
                </a:tc>
                <a:tc>
                  <a:txBody>
                    <a:bodyPr/>
                    <a:lstStyle/>
                    <a:p>
                      <a:pPr algn="l" fontAlgn="b"/>
                      <a:r>
                        <a:rPr lang="en-GB" sz="1000" b="0" i="0" kern="1200">
                          <a:solidFill>
                            <a:schemeClr val="tx1"/>
                          </a:solidFill>
                          <a:latin typeface="+mn-lt"/>
                          <a:ea typeface="+mn-ea"/>
                          <a:cs typeface="+mn-cs"/>
                        </a:rPr>
                        <a:t>Develop an Innovation Framework; research, identify and document new / existing cloud related technologies, processes and industry trends, and assess their impact of cloud trends on organisation; select potential innovation opportunities based on feasibility</a:t>
                      </a:r>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69801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01A20-AC24-4EEE-B260-DC60B84A3BEF}"/>
              </a:ext>
            </a:extLst>
          </p:cNvPr>
          <p:cNvSpPr>
            <a:spLocks noGrp="1"/>
          </p:cNvSpPr>
          <p:nvPr>
            <p:ph type="title"/>
          </p:nvPr>
        </p:nvSpPr>
        <p:spPr/>
        <p:txBody>
          <a:bodyPr/>
          <a:lstStyle/>
          <a:p>
            <a:r>
              <a:rPr lang="en-US" dirty="0"/>
              <a:t>Business Capabilities Reference Architecture </a:t>
            </a:r>
            <a:br>
              <a:rPr lang="en-US" dirty="0"/>
            </a:br>
            <a:endParaRPr lang="en-US" dirty="0"/>
          </a:p>
        </p:txBody>
      </p:sp>
      <p:sp>
        <p:nvSpPr>
          <p:cNvPr id="2" name="Text Placeholder 1">
            <a:extLst>
              <a:ext uri="{FF2B5EF4-FFF2-40B4-BE49-F238E27FC236}">
                <a16:creationId xmlns:a16="http://schemas.microsoft.com/office/drawing/2014/main" id="{98DEF4BE-89FE-4B38-9249-A50705FB9524}"/>
              </a:ext>
            </a:extLst>
          </p:cNvPr>
          <p:cNvSpPr>
            <a:spLocks noGrp="1"/>
          </p:cNvSpPr>
          <p:nvPr>
            <p:ph type="body" sz="quarter" idx="10"/>
          </p:nvPr>
        </p:nvSpPr>
        <p:spPr>
          <a:xfrm>
            <a:off x="695324" y="1088464"/>
            <a:ext cx="11115675" cy="215444"/>
          </a:xfrm>
        </p:spPr>
        <p:txBody>
          <a:bodyPr/>
          <a:lstStyle/>
          <a:p>
            <a:r>
              <a:rPr lang="en-US" b="1" dirty="0">
                <a:solidFill>
                  <a:schemeClr val="accent1"/>
                </a:solidFill>
              </a:rPr>
              <a:t>0. </a:t>
            </a:r>
            <a:r>
              <a:rPr kumimoji="0" lang="en-US" sz="1400" b="1" i="0" u="none" strike="noStrike" kern="1200" cap="none" spc="0" normalizeH="0" baseline="0" noProof="0" dirty="0">
                <a:ln>
                  <a:noFill/>
                </a:ln>
                <a:solidFill>
                  <a:schemeClr val="accent1"/>
                </a:solidFill>
                <a:effectLst/>
                <a:uLnTx/>
                <a:uFillTx/>
                <a:latin typeface="Graphik" panose="020B0503030202060203" pitchFamily="34" charset="0"/>
                <a:ea typeface="+mn-ea"/>
                <a:cs typeface="+mn-cs"/>
              </a:rPr>
              <a:t>Cloud Organization &amp; Operating Model  Enablers</a:t>
            </a:r>
            <a:r>
              <a:rPr lang="en-US" b="1" dirty="0">
                <a:solidFill>
                  <a:schemeClr val="accent1"/>
                </a:solidFill>
              </a:rPr>
              <a:t> (2/4)</a:t>
            </a:r>
            <a:endParaRPr lang="en-ZA" b="1" dirty="0">
              <a:solidFill>
                <a:schemeClr val="accent1"/>
              </a:solidFill>
            </a:endParaRPr>
          </a:p>
        </p:txBody>
      </p:sp>
      <p:sp>
        <p:nvSpPr>
          <p:cNvPr id="4" name="Text Placeholder 3">
            <a:extLst>
              <a:ext uri="{FF2B5EF4-FFF2-40B4-BE49-F238E27FC236}">
                <a16:creationId xmlns:a16="http://schemas.microsoft.com/office/drawing/2014/main" id="{B38B14AF-B49F-41F5-8E26-05096D2E63C3}"/>
              </a:ext>
            </a:extLst>
          </p:cNvPr>
          <p:cNvSpPr>
            <a:spLocks noGrp="1"/>
          </p:cNvSpPr>
          <p:nvPr>
            <p:ph type="body" sz="quarter" idx="11"/>
          </p:nvPr>
        </p:nvSpPr>
        <p:spPr>
          <a:xfrm>
            <a:off x="695324" y="1440443"/>
            <a:ext cx="3086099" cy="452437"/>
          </a:xfrm>
        </p:spPr>
        <p:txBody>
          <a:bodyPr>
            <a:normAutofit/>
          </a:bodyPr>
          <a:lstStyle/>
          <a:p>
            <a:r>
              <a:rPr lang="en-US"/>
              <a:t>0.2 </a:t>
            </a:r>
            <a:r>
              <a:rPr kumimoji="0" lang="en-US" sz="1200" b="1" i="0" u="none" strike="noStrike" kern="1200" cap="none" spc="0" normalizeH="0" baseline="0" noProof="0">
                <a:ln>
                  <a:noFill/>
                </a:ln>
                <a:solidFill>
                  <a:prstClr val="black"/>
                </a:solidFill>
                <a:effectLst/>
                <a:uLnTx/>
                <a:uFillTx/>
                <a:latin typeface="Graphik" panose="020B0503030202060203" pitchFamily="34" charset="0"/>
                <a:ea typeface="+mn-ea"/>
                <a:cs typeface="+mn-cs"/>
              </a:rPr>
              <a:t>Cloud Architecture and Operations</a:t>
            </a:r>
            <a:endParaRPr lang="en-US"/>
          </a:p>
          <a:p>
            <a:endParaRPr lang="en-ZA"/>
          </a:p>
        </p:txBody>
      </p:sp>
      <p:sp>
        <p:nvSpPr>
          <p:cNvPr id="13" name="Rectangle 12">
            <a:extLst>
              <a:ext uri="{FF2B5EF4-FFF2-40B4-BE49-F238E27FC236}">
                <a16:creationId xmlns:a16="http://schemas.microsoft.com/office/drawing/2014/main" id="{A2A2B339-34D0-4E4C-A64A-1D4F53CF4E1E}"/>
              </a:ext>
            </a:extLst>
          </p:cNvPr>
          <p:cNvSpPr/>
          <p:nvPr/>
        </p:nvSpPr>
        <p:spPr>
          <a:xfrm>
            <a:off x="695324" y="1756437"/>
            <a:ext cx="3352569" cy="905256"/>
          </a:xfrm>
          <a:prstGeom prst="rect">
            <a:avLst/>
          </a:prstGeom>
          <a:solidFill>
            <a:schemeClr val="bg1">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bg1"/>
              </a:solidFill>
              <a:effectLst/>
              <a:uLnTx/>
              <a:uFillTx/>
              <a:latin typeface="Graphik" panose="020B0503030202060203" pitchFamily="34" charset="0"/>
              <a:ea typeface="+mn-ea"/>
              <a:cs typeface="+mn-cs"/>
            </a:endParaRPr>
          </a:p>
        </p:txBody>
      </p:sp>
      <p:sp>
        <p:nvSpPr>
          <p:cNvPr id="14" name="Rectangle 13">
            <a:extLst>
              <a:ext uri="{FF2B5EF4-FFF2-40B4-BE49-F238E27FC236}">
                <a16:creationId xmlns:a16="http://schemas.microsoft.com/office/drawing/2014/main" id="{CC75590A-0B2A-4DC7-8276-6CF0AA6A570B}"/>
              </a:ext>
            </a:extLst>
          </p:cNvPr>
          <p:cNvSpPr/>
          <p:nvPr/>
        </p:nvSpPr>
        <p:spPr>
          <a:xfrm>
            <a:off x="858751"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2.1 Cloud Platform &amp; Service Arch</a:t>
            </a:r>
          </a:p>
        </p:txBody>
      </p:sp>
      <p:sp>
        <p:nvSpPr>
          <p:cNvPr id="26" name="Rectangle 25">
            <a:extLst>
              <a:ext uri="{FF2B5EF4-FFF2-40B4-BE49-F238E27FC236}">
                <a16:creationId xmlns:a16="http://schemas.microsoft.com/office/drawing/2014/main" id="{4F7FFED5-22BA-47DE-898F-A456A970819E}"/>
              </a:ext>
            </a:extLst>
          </p:cNvPr>
          <p:cNvSpPr/>
          <p:nvPr/>
        </p:nvSpPr>
        <p:spPr>
          <a:xfrm>
            <a:off x="1909782"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2.2 Cloud Landing Zones</a:t>
            </a:r>
          </a:p>
        </p:txBody>
      </p:sp>
      <p:sp>
        <p:nvSpPr>
          <p:cNvPr id="27" name="Rectangle 26">
            <a:extLst>
              <a:ext uri="{FF2B5EF4-FFF2-40B4-BE49-F238E27FC236}">
                <a16:creationId xmlns:a16="http://schemas.microsoft.com/office/drawing/2014/main" id="{33A613B4-48EB-4627-B175-58670DFB733D}"/>
              </a:ext>
            </a:extLst>
          </p:cNvPr>
          <p:cNvSpPr/>
          <p:nvPr/>
        </p:nvSpPr>
        <p:spPr>
          <a:xfrm>
            <a:off x="2960814" y="1884667"/>
            <a:ext cx="960120" cy="640080"/>
          </a:xfrm>
          <a:prstGeom prst="rect">
            <a:avLst/>
          </a:prstGeom>
          <a:solidFill>
            <a:srgbClr val="A100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Graphik" panose="020B0503030202060203" pitchFamily="34" charset="0"/>
                <a:ea typeface="+mn-ea"/>
                <a:cs typeface="+mn-cs"/>
              </a:rPr>
              <a:t>0.2.3 Cloud Operations</a:t>
            </a:r>
          </a:p>
        </p:txBody>
      </p:sp>
      <p:graphicFrame>
        <p:nvGraphicFramePr>
          <p:cNvPr id="15" name="Table 14">
            <a:extLst>
              <a:ext uri="{FF2B5EF4-FFF2-40B4-BE49-F238E27FC236}">
                <a16:creationId xmlns:a16="http://schemas.microsoft.com/office/drawing/2014/main" id="{24FDDE7B-7BE6-4EFB-AEF1-669B0772DD9F}"/>
              </a:ext>
            </a:extLst>
          </p:cNvPr>
          <p:cNvGraphicFramePr>
            <a:graphicFrameLocks noGrp="1"/>
          </p:cNvGraphicFramePr>
          <p:nvPr>
            <p:extLst>
              <p:ext uri="{D42A27DB-BD31-4B8C-83A1-F6EECF244321}">
                <p14:modId xmlns:p14="http://schemas.microsoft.com/office/powerpoint/2010/main" val="1846411712"/>
              </p:ext>
            </p:extLst>
          </p:nvPr>
        </p:nvGraphicFramePr>
        <p:xfrm>
          <a:off x="695325" y="2732659"/>
          <a:ext cx="10729912" cy="2580840"/>
        </p:xfrm>
        <a:graphic>
          <a:graphicData uri="http://schemas.openxmlformats.org/drawingml/2006/table">
            <a:tbl>
              <a:tblPr firstRow="1" firstCol="1">
                <a:tableStyleId>{3B4B98B0-60AC-42C2-AFA5-B58CD77FA1E5}</a:tableStyleId>
              </a:tblPr>
              <a:tblGrid>
                <a:gridCol w="1585100">
                  <a:extLst>
                    <a:ext uri="{9D8B030D-6E8A-4147-A177-3AD203B41FA5}">
                      <a16:colId xmlns:a16="http://schemas.microsoft.com/office/drawing/2014/main" val="20000"/>
                    </a:ext>
                  </a:extLst>
                </a:gridCol>
                <a:gridCol w="2682100">
                  <a:extLst>
                    <a:ext uri="{9D8B030D-6E8A-4147-A177-3AD203B41FA5}">
                      <a16:colId xmlns:a16="http://schemas.microsoft.com/office/drawing/2014/main" val="20001"/>
                    </a:ext>
                  </a:extLst>
                </a:gridCol>
                <a:gridCol w="6462712">
                  <a:extLst>
                    <a:ext uri="{9D8B030D-6E8A-4147-A177-3AD203B41FA5}">
                      <a16:colId xmlns:a16="http://schemas.microsoft.com/office/drawing/2014/main" val="20002"/>
                    </a:ext>
                  </a:extLst>
                </a:gridCol>
              </a:tblGrid>
              <a:tr h="0">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Application Domain</a:t>
                      </a:r>
                      <a:endParaRPr lang="en-US" sz="1000" b="1" kern="1200">
                        <a:solidFill>
                          <a:schemeClr val="tx1"/>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Application</a:t>
                      </a:r>
                      <a:r>
                        <a:rPr lang="en-US" sz="1000" kern="1200" baseline="0">
                          <a:solidFill>
                            <a:schemeClr val="tx1"/>
                          </a:solidFill>
                          <a:latin typeface="+mn-lt"/>
                        </a:rPr>
                        <a:t> </a:t>
                      </a:r>
                      <a:r>
                        <a:rPr lang="en-US" sz="1000" kern="1200">
                          <a:solidFill>
                            <a:schemeClr val="tx1"/>
                          </a:solidFill>
                          <a:latin typeface="+mn-lt"/>
                        </a:rPr>
                        <a:t>Block</a:t>
                      </a:r>
                      <a:endParaRPr lang="en-US" sz="1000" b="1" kern="1200">
                        <a:solidFill>
                          <a:schemeClr val="tx1"/>
                        </a:solidFill>
                        <a:latin typeface="+mn-lt"/>
                        <a:ea typeface="+mn-ea"/>
                        <a:cs typeface="+mn-cs"/>
                      </a:endParaRPr>
                    </a:p>
                  </a:txBody>
                  <a:tcPr marL="72000" marR="72000" marT="36000" marB="36000"/>
                </a:tc>
                <a:tc>
                  <a:txBody>
                    <a:bodyPr/>
                    <a:lstStyle>
                      <a:lvl1pPr marL="0" algn="l" defTabSz="457200" rtl="0" eaLnBrk="1" latinLnBrk="0" hangingPunct="1">
                        <a:defRPr sz="1800" b="1" kern="1200">
                          <a:solidFill>
                            <a:schemeClr val="tx1"/>
                          </a:solidFill>
                          <a:latin typeface="Arial"/>
                          <a:ea typeface=""/>
                          <a:cs typeface=""/>
                        </a:defRPr>
                      </a:lvl1pPr>
                      <a:lvl2pPr marL="457200" algn="l" defTabSz="457200" rtl="0" eaLnBrk="1" latinLnBrk="0" hangingPunct="1">
                        <a:defRPr sz="1800" b="1" kern="1200">
                          <a:solidFill>
                            <a:schemeClr val="tx1"/>
                          </a:solidFill>
                          <a:latin typeface="Arial"/>
                          <a:ea typeface=""/>
                          <a:cs typeface=""/>
                        </a:defRPr>
                      </a:lvl2pPr>
                      <a:lvl3pPr marL="914400" algn="l" defTabSz="457200" rtl="0" eaLnBrk="1" latinLnBrk="0" hangingPunct="1">
                        <a:defRPr sz="1800" b="1" kern="1200">
                          <a:solidFill>
                            <a:schemeClr val="tx1"/>
                          </a:solidFill>
                          <a:latin typeface="Arial"/>
                          <a:ea typeface=""/>
                          <a:cs typeface=""/>
                        </a:defRPr>
                      </a:lvl3pPr>
                      <a:lvl4pPr marL="1371600" algn="l" defTabSz="457200" rtl="0" eaLnBrk="1" latinLnBrk="0" hangingPunct="1">
                        <a:defRPr sz="1800" b="1" kern="1200">
                          <a:solidFill>
                            <a:schemeClr val="tx1"/>
                          </a:solidFill>
                          <a:latin typeface="Arial"/>
                          <a:ea typeface=""/>
                          <a:cs typeface=""/>
                        </a:defRPr>
                      </a:lvl4pPr>
                      <a:lvl5pPr marL="1828800" algn="l" defTabSz="457200" rtl="0" eaLnBrk="1" latinLnBrk="0" hangingPunct="1">
                        <a:defRPr sz="1800" b="1" kern="1200">
                          <a:solidFill>
                            <a:schemeClr val="tx1"/>
                          </a:solidFill>
                          <a:latin typeface="Arial"/>
                          <a:ea typeface=""/>
                          <a:cs typeface=""/>
                        </a:defRPr>
                      </a:lvl5pPr>
                      <a:lvl6pPr marL="2286000" algn="l" defTabSz="457200" rtl="0" eaLnBrk="1" latinLnBrk="0" hangingPunct="1">
                        <a:defRPr sz="1800" b="1" kern="1200">
                          <a:solidFill>
                            <a:schemeClr val="tx1"/>
                          </a:solidFill>
                          <a:latin typeface="Arial"/>
                          <a:ea typeface=""/>
                          <a:cs typeface=""/>
                        </a:defRPr>
                      </a:lvl6pPr>
                      <a:lvl7pPr marL="2743200" algn="l" defTabSz="457200" rtl="0" eaLnBrk="1" latinLnBrk="0" hangingPunct="1">
                        <a:defRPr sz="1800" b="1" kern="1200">
                          <a:solidFill>
                            <a:schemeClr val="tx1"/>
                          </a:solidFill>
                          <a:latin typeface="Arial"/>
                          <a:ea typeface=""/>
                          <a:cs typeface=""/>
                        </a:defRPr>
                      </a:lvl7pPr>
                      <a:lvl8pPr marL="3200400" algn="l" defTabSz="457200" rtl="0" eaLnBrk="1" latinLnBrk="0" hangingPunct="1">
                        <a:defRPr sz="1800" b="1" kern="1200">
                          <a:solidFill>
                            <a:schemeClr val="tx1"/>
                          </a:solidFill>
                          <a:latin typeface="Arial"/>
                          <a:ea typeface=""/>
                          <a:cs typeface=""/>
                        </a:defRPr>
                      </a:lvl8pPr>
                      <a:lvl9pPr marL="3657600" algn="l" defTabSz="457200" rtl="0" eaLnBrk="1" latinLnBrk="0" hangingPunct="1">
                        <a:defRPr sz="1800" b="1" kern="1200">
                          <a:solidFill>
                            <a:schemeClr val="tx1"/>
                          </a:solidFill>
                          <a:latin typeface="Arial"/>
                          <a:ea typeface=""/>
                          <a:cs typeface=""/>
                        </a:defRPr>
                      </a:lvl9pPr>
                    </a:lstStyle>
                    <a:p>
                      <a:pPr marL="0" algn="l" defTabSz="914400" rtl="0" eaLnBrk="0" fontAlgn="base" latinLnBrk="0" hangingPunct="0">
                        <a:spcBef>
                          <a:spcPct val="0"/>
                        </a:spcBef>
                        <a:spcAft>
                          <a:spcPct val="0"/>
                        </a:spcAft>
                        <a:buClr>
                          <a:srgbClr val="4F81BD"/>
                        </a:buClr>
                      </a:pPr>
                      <a:r>
                        <a:rPr lang="en-US" sz="1000" kern="1200">
                          <a:solidFill>
                            <a:schemeClr val="tx1"/>
                          </a:solidFill>
                          <a:latin typeface="+mn-lt"/>
                        </a:rPr>
                        <a:t>Description</a:t>
                      </a:r>
                      <a:endParaRPr lang="en-US" sz="1000" b="1" kern="1200">
                        <a:solidFill>
                          <a:schemeClr val="tx1"/>
                        </a:solidFill>
                        <a:latin typeface="+mn-lt"/>
                        <a:ea typeface="+mn-ea"/>
                        <a:cs typeface="+mn-cs"/>
                      </a:endParaRPr>
                    </a:p>
                  </a:txBody>
                  <a:tcPr marL="72000" marR="72000" marT="36000" marB="36000"/>
                </a:tc>
                <a:extLst>
                  <a:ext uri="{0D108BD9-81ED-4DB2-BD59-A6C34878D82A}">
                    <a16:rowId xmlns:a16="http://schemas.microsoft.com/office/drawing/2014/main" val="10000"/>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0.2 </a:t>
                      </a:r>
                      <a:r>
                        <a:rPr kumimoji="0" lang="en-US" sz="1000" b="1" i="0" u="none" strike="noStrike" kern="1200" cap="none" spc="0" normalizeH="0" baseline="0" noProof="0">
                          <a:ln>
                            <a:noFill/>
                          </a:ln>
                          <a:solidFill>
                            <a:schemeClr val="tx1"/>
                          </a:solidFill>
                          <a:effectLst/>
                          <a:uLnTx/>
                          <a:uFillTx/>
                          <a:latin typeface="+mn-lt"/>
                          <a:ea typeface=""/>
                          <a:cs typeface=""/>
                        </a:rPr>
                        <a:t>Cloud Architecture and Operations</a:t>
                      </a:r>
                      <a:endParaRPr lang="en-US" sz="1000">
                        <a:solidFill>
                          <a:schemeClr val="tx1"/>
                        </a:solidFill>
                        <a:latin typeface="+mn-lt"/>
                      </a:endParaRPr>
                    </a:p>
                    <a:p>
                      <a:endParaRPr lang="en-US" sz="1000">
                        <a:solidFill>
                          <a:schemeClr val="tx1"/>
                        </a:solidFill>
                        <a:latin typeface="+mn-lt"/>
                      </a:endParaRPr>
                    </a:p>
                  </a:txBody>
                  <a:tcPr marL="72000" marR="72000" marT="36000" marB="36000">
                    <a:solidFill>
                      <a:schemeClr val="accent5">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tx1"/>
                        </a:solidFill>
                        <a:effectLst/>
                        <a:highlight>
                          <a:srgbClr val="FFFF00"/>
                        </a:highlight>
                        <a:uLnTx/>
                        <a:uFillTx/>
                        <a:latin typeface="+mn-lt"/>
                        <a:ea typeface="+mn-ea"/>
                        <a:cs typeface="+mn-cs"/>
                      </a:endParaRP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endParaRPr lang="en-GB" sz="1000" b="0" i="0" kern="0">
                        <a:solidFill>
                          <a:schemeClr val="tx1"/>
                        </a:solidFill>
                        <a:latin typeface="+mn-lt"/>
                        <a:ea typeface="+mn-ea"/>
                        <a:cs typeface="Arial" panose="020B0604020202020204" pitchFamily="34" charset="0"/>
                      </a:endParaRPr>
                    </a:p>
                  </a:txBody>
                  <a:tcPr marL="72000" marR="72000" marT="36000" marB="36000" anchor="ctr">
                    <a:solidFill>
                      <a:schemeClr val="accent5">
                        <a:lumMod val="20000"/>
                        <a:lumOff val="80000"/>
                      </a:schemeClr>
                    </a:solidFill>
                  </a:tcPr>
                </a:tc>
                <a:extLst>
                  <a:ext uri="{0D108BD9-81ED-4DB2-BD59-A6C34878D82A}">
                    <a16:rowId xmlns:a16="http://schemas.microsoft.com/office/drawing/2014/main" val="368337854"/>
                  </a:ext>
                </a:extLst>
              </a:tr>
              <a:tr h="0">
                <a:tc rowSpan="4">
                  <a:txBody>
                    <a:bodyPr/>
                    <a:lstStyle>
                      <a:lvl1pPr marL="0" algn="l" defTabSz="457200" rtl="0" eaLnBrk="1" latinLnBrk="0" hangingPunct="1">
                        <a:defRPr sz="1800" kern="1200">
                          <a:solidFill>
                            <a:schemeClr val="tx1"/>
                          </a:solidFill>
                          <a:latin typeface="Arial"/>
                          <a:ea typeface=""/>
                          <a:cs typeface=""/>
                        </a:defRPr>
                      </a:lvl1pPr>
                      <a:lvl2pPr marL="457200" algn="l" defTabSz="457200" rtl="0" eaLnBrk="1" latinLnBrk="0" hangingPunct="1">
                        <a:defRPr sz="1800" kern="1200">
                          <a:solidFill>
                            <a:schemeClr val="tx1"/>
                          </a:solidFill>
                          <a:latin typeface="Arial"/>
                          <a:ea typeface=""/>
                          <a:cs typeface=""/>
                        </a:defRPr>
                      </a:lvl2pPr>
                      <a:lvl3pPr marL="914400" algn="l" defTabSz="457200" rtl="0" eaLnBrk="1" latinLnBrk="0" hangingPunct="1">
                        <a:defRPr sz="1800" kern="1200">
                          <a:solidFill>
                            <a:schemeClr val="tx1"/>
                          </a:solidFill>
                          <a:latin typeface="Arial"/>
                          <a:ea typeface=""/>
                          <a:cs typeface=""/>
                        </a:defRPr>
                      </a:lvl3pPr>
                      <a:lvl4pPr marL="1371600" algn="l" defTabSz="457200" rtl="0" eaLnBrk="1" latinLnBrk="0" hangingPunct="1">
                        <a:defRPr sz="1800" kern="1200">
                          <a:solidFill>
                            <a:schemeClr val="tx1"/>
                          </a:solidFill>
                          <a:latin typeface="Arial"/>
                          <a:ea typeface=""/>
                          <a:cs typeface=""/>
                        </a:defRPr>
                      </a:lvl4pPr>
                      <a:lvl5pPr marL="1828800" algn="l" defTabSz="457200" rtl="0" eaLnBrk="1" latinLnBrk="0" hangingPunct="1">
                        <a:defRPr sz="1800" kern="1200">
                          <a:solidFill>
                            <a:schemeClr val="tx1"/>
                          </a:solidFill>
                          <a:latin typeface="Arial"/>
                          <a:ea typeface=""/>
                          <a:cs typeface=""/>
                        </a:defRPr>
                      </a:lvl5pPr>
                      <a:lvl6pPr marL="2286000" algn="l" defTabSz="457200" rtl="0" eaLnBrk="1" latinLnBrk="0" hangingPunct="1">
                        <a:defRPr sz="1800" kern="1200">
                          <a:solidFill>
                            <a:schemeClr val="tx1"/>
                          </a:solidFill>
                          <a:latin typeface="Arial"/>
                          <a:ea typeface=""/>
                          <a:cs typeface=""/>
                        </a:defRPr>
                      </a:lvl6pPr>
                      <a:lvl7pPr marL="2743200" algn="l" defTabSz="457200" rtl="0" eaLnBrk="1" latinLnBrk="0" hangingPunct="1">
                        <a:defRPr sz="1800" kern="1200">
                          <a:solidFill>
                            <a:schemeClr val="tx1"/>
                          </a:solidFill>
                          <a:latin typeface="Arial"/>
                          <a:ea typeface=""/>
                          <a:cs typeface=""/>
                        </a:defRPr>
                      </a:lvl7pPr>
                      <a:lvl8pPr marL="3200400" algn="l" defTabSz="457200" rtl="0" eaLnBrk="1" latinLnBrk="0" hangingPunct="1">
                        <a:defRPr sz="1800" kern="1200">
                          <a:solidFill>
                            <a:schemeClr val="tx1"/>
                          </a:solidFill>
                          <a:latin typeface="Arial"/>
                          <a:ea typeface=""/>
                          <a:cs typeface=""/>
                        </a:defRPr>
                      </a:lvl8pPr>
                      <a:lvl9pPr marL="3657600" algn="l" defTabSz="457200" rtl="0" eaLnBrk="1" latinLnBrk="0" hangingPunct="1">
                        <a:defRPr sz="1800" kern="1200">
                          <a:solidFill>
                            <a:schemeClr val="tx1"/>
                          </a:solidFill>
                          <a:latin typeface="Arial"/>
                          <a:ea typeface=""/>
                          <a:cs typeface=""/>
                        </a:defRPr>
                      </a:lvl9pPr>
                    </a:lstStyle>
                    <a:p>
                      <a:r>
                        <a:rPr lang="en-US" sz="1000">
                          <a:solidFill>
                            <a:schemeClr val="tx1"/>
                          </a:solidFill>
                          <a:latin typeface="+mn-lt"/>
                        </a:rPr>
                        <a:t>0.2 </a:t>
                      </a:r>
                      <a:r>
                        <a:rPr kumimoji="0" lang="en-US" sz="1000" b="1" i="0" u="none" strike="noStrike" kern="1200" cap="none" spc="0" normalizeH="0" baseline="0" noProof="0">
                          <a:ln>
                            <a:noFill/>
                          </a:ln>
                          <a:solidFill>
                            <a:schemeClr val="tx1"/>
                          </a:solidFill>
                          <a:effectLst/>
                          <a:uLnTx/>
                          <a:uFillTx/>
                          <a:latin typeface="+mn-lt"/>
                          <a:ea typeface=""/>
                          <a:cs typeface=""/>
                        </a:rPr>
                        <a:t>Cloud Architecture and Operations</a:t>
                      </a:r>
                      <a:endParaRPr lang="en-US" sz="1000">
                        <a:solidFill>
                          <a:schemeClr val="tx1"/>
                        </a:solidFill>
                        <a:latin typeface="+mn-lt"/>
                      </a:endParaRP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tx1"/>
                          </a:solidFill>
                          <a:effectLst/>
                          <a:uLnTx/>
                          <a:uFillTx/>
                          <a:latin typeface="+mn-lt"/>
                          <a:ea typeface="+mn-ea"/>
                          <a:cs typeface="+mn-cs"/>
                        </a:rPr>
                        <a:t>0.2.1 Cloud Platform &amp; Service Arch</a:t>
                      </a:r>
                    </a:p>
                  </a:txBody>
                  <a:tcPr marL="72000" marR="72000" marT="36000" marB="36000"/>
                </a:tc>
                <a:tc>
                  <a:txBody>
                    <a:body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r>
                        <a:rPr lang="en-US" sz="1000" b="0" i="0" kern="0">
                          <a:solidFill>
                            <a:schemeClr val="tx1"/>
                          </a:solidFill>
                          <a:latin typeface="+mn-lt"/>
                          <a:ea typeface="+mn-ea"/>
                          <a:cs typeface="Arial" panose="020B0604020202020204" pitchFamily="34" charset="0"/>
                        </a:rPr>
                        <a:t>Define and design the Cloud platform architecture. Develop a set of artefacts and guardrails that will establish the architectural process and continuous development of a Platform &amp; Service Architecture. </a:t>
                      </a:r>
                      <a:r>
                        <a:rPr lang="en-GB" sz="1000" b="0" i="0" kern="0">
                          <a:solidFill>
                            <a:schemeClr val="tx1"/>
                          </a:solidFill>
                          <a:latin typeface="+mn-lt"/>
                          <a:ea typeface="+mn-ea"/>
                          <a:cs typeface="Arial" panose="020B0604020202020204" pitchFamily="34" charset="0"/>
                        </a:rPr>
                        <a:t>Define and maintain the overall service architecture, develop service architecture blueprints, design, and roadmap for each service offering.</a:t>
                      </a:r>
                    </a:p>
                  </a:txBody>
                  <a:tcPr marL="72000" marR="72000" marT="36000" marB="36000" anchor="ctr"/>
                </a:tc>
                <a:extLst>
                  <a:ext uri="{0D108BD9-81ED-4DB2-BD59-A6C34878D82A}">
                    <a16:rowId xmlns:a16="http://schemas.microsoft.com/office/drawing/2014/main" val="10001"/>
                  </a:ext>
                </a:extLst>
              </a:tr>
              <a:tr h="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endParaRPr>
                    </a:p>
                  </a:txBody>
                  <a:tcPr marL="72000" marR="72000" marT="36000" marB="36000">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algn="l" fontAlgn="b"/>
                      <a:endParaRPr kumimoji="0" lang="en-GB" sz="1100" b="0" i="0" u="none" strike="noStrike" kern="0" cap="none" spc="0" normalizeH="0" baseline="0" noProof="0">
                        <a:ln>
                          <a:noFill/>
                        </a:ln>
                        <a:solidFill>
                          <a:schemeClr val="tx1"/>
                        </a:solidFill>
                        <a:effectLst/>
                        <a:uLnTx/>
                        <a:uFillTx/>
                        <a:latin typeface="+mn-lt"/>
                        <a:ea typeface="+mn-ea"/>
                        <a:cs typeface="+mn-cs"/>
                      </a:endParaRPr>
                    </a:p>
                  </a:txBody>
                  <a:tcPr marL="72000" marR="72000" marT="36000" marB="36000"/>
                </a:tc>
                <a:tc>
                  <a:txBody>
                    <a:bodyPr/>
                    <a:lstStyle/>
                    <a:p>
                      <a:pPr algn="l" fontAlgn="b"/>
                      <a:endParaRPr lang="en-US" sz="1000" b="0" i="0" u="none" strike="noStrike">
                        <a:solidFill>
                          <a:schemeClr val="tx1"/>
                        </a:solidFill>
                        <a:effectLst/>
                        <a:latin typeface="+mn-lt"/>
                      </a:endParaRPr>
                    </a:p>
                  </a:txBody>
                  <a:tcPr marL="72000" marR="72000" marT="36000" marB="36000" anchor="ctr"/>
                </a:tc>
                <a:extLst>
                  <a:ext uri="{0D108BD9-81ED-4DB2-BD59-A6C34878D82A}">
                    <a16:rowId xmlns:a16="http://schemas.microsoft.com/office/drawing/2014/main" val="1334849182"/>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tx1"/>
                          </a:solidFill>
                          <a:effectLst/>
                          <a:uLnTx/>
                          <a:uFillTx/>
                          <a:latin typeface="+mn-lt"/>
                          <a:ea typeface="+mn-ea"/>
                          <a:cs typeface="+mn-cs"/>
                        </a:rPr>
                        <a:t>0.2.2 Cloud Landing Zones</a:t>
                      </a:r>
                    </a:p>
                  </a:txBody>
                  <a:tcPr marL="72000" marR="72000" marT="36000" marB="36000"/>
                </a:tc>
                <a:tc>
                  <a:txBody>
                    <a:bodyPr/>
                    <a:lstStyle/>
                    <a:p>
                      <a:pPr marL="0" marR="0" lvl="0" indent="0" algn="l" defTabSz="914126"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kern="1200" dirty="0">
                          <a:solidFill>
                            <a:schemeClr val="tx1"/>
                          </a:solidFill>
                          <a:latin typeface="+mn-lt"/>
                          <a:ea typeface=""/>
                          <a:cs typeface=""/>
                        </a:rPr>
                        <a:t>Using best practice, specify design and establish secure Cloud Landing Zone for the organization. Capture and ensure the organizational parameters are met. E.g. The security, data, PaaS, storage, networking, compute components. Test and ensure that the Landing Zone provides rapid and secure access to Cloud Services for its consumers. </a:t>
                      </a:r>
                    </a:p>
                  </a:txBody>
                  <a:tcPr marL="72000" marR="72000" marT="36000" marB="36000" anchor="ctr"/>
                </a:tc>
                <a:extLst>
                  <a:ext uri="{0D108BD9-81ED-4DB2-BD59-A6C34878D82A}">
                    <a16:rowId xmlns:a16="http://schemas.microsoft.com/office/drawing/2014/main" val="2749173880"/>
                  </a:ext>
                </a:extLst>
              </a:tr>
              <a:tr h="0">
                <a:tc vMerge="1">
                  <a:txBody>
                    <a:bodyPr/>
                    <a:lstStyle/>
                    <a:p>
                      <a:endParaRPr lang="en-US"/>
                    </a:p>
                  </a:txBody>
                  <a:tcPr>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tx1"/>
                          </a:solidFill>
                          <a:effectLst/>
                          <a:uLnTx/>
                          <a:uFillTx/>
                          <a:latin typeface="+mn-lt"/>
                          <a:ea typeface="+mn-ea"/>
                          <a:cs typeface="+mn-cs"/>
                        </a:rPr>
                        <a:t>0.2.3 Cloud Operations</a:t>
                      </a:r>
                    </a:p>
                  </a:txBody>
                  <a:tcPr marL="72000" marR="72000" marT="36000" marB="36000"/>
                </a:tc>
                <a:tc>
                  <a:txBody>
                    <a:bodyPr/>
                    <a:lstStyle/>
                    <a:p>
                      <a:pPr algn="l" fontAlgn="b"/>
                      <a:r>
                        <a:rPr lang="en-US" sz="1000" b="0" i="0" u="none" strike="noStrike" dirty="0">
                          <a:solidFill>
                            <a:schemeClr val="tx1"/>
                          </a:solidFill>
                          <a:effectLst/>
                          <a:latin typeface="+mn-lt"/>
                        </a:rPr>
                        <a:t>Establish Monitoring and management of financial and operational risks. Establish controls and tooling to monitor and manage operations. E.g. FinOps tooling, SaaS controls, </a:t>
                      </a:r>
                    </a:p>
                  </a:txBody>
                  <a:tcPr marL="72000" marR="72000" marT="36000" marB="36000"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64990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K6d5767YE6p4iKrnZ6mgA"/>
</p:tagLst>
</file>

<file path=ppt/theme/theme1.xml><?xml version="1.0" encoding="utf-8"?>
<a:theme xmlns:a="http://schemas.openxmlformats.org/drawingml/2006/main" name="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2.xml><?xml version="1.0" encoding="utf-8"?>
<a:theme xmlns:a="http://schemas.openxmlformats.org/drawingml/2006/main" name="2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1A8C4A8B721F499652012A5B8F7390" ma:contentTypeVersion="3" ma:contentTypeDescription="Create a new document." ma:contentTypeScope="" ma:versionID="e3ce33869e0e1fcd9303b666cdd40f7e">
  <xsd:schema xmlns:xsd="http://www.w3.org/2001/XMLSchema" xmlns:xs="http://www.w3.org/2001/XMLSchema" xmlns:p="http://schemas.microsoft.com/office/2006/metadata/properties" xmlns:ns2="0fe74bf0-0ad3-4aec-9d8d-2d472ce1e657" targetNamespace="http://schemas.microsoft.com/office/2006/metadata/properties" ma:root="true" ma:fieldsID="829bd7cccc2f0ec382dc4eab1c5bd1ce" ns2:_="">
    <xsd:import namespace="0fe74bf0-0ad3-4aec-9d8d-2d472ce1e657"/>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e74bf0-0ad3-4aec-9d8d-2d472ce1e6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AA6F24-58A8-47BA-9A4D-F6C60924B9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e74bf0-0ad3-4aec-9d8d-2d472ce1e6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5F3673-9334-4813-BF3B-A4B6A9D2DEAD}">
  <ds:schemaRefs>
    <ds:schemaRef ds:uri="http://schemas.microsoft.com/sharepoint/v3/contenttype/forms"/>
  </ds:schemaRefs>
</ds:datastoreItem>
</file>

<file path=customXml/itemProps3.xml><?xml version="1.0" encoding="utf-8"?>
<ds:datastoreItem xmlns:ds="http://schemas.openxmlformats.org/officeDocument/2006/customXml" ds:itemID="{9FD30DC1-A9BD-4C01-9231-E944F16BEB7E}">
  <ds:schemaRefs>
    <ds:schemaRef ds:uri="0fe74bf0-0ad3-4aec-9d8d-2d472ce1e657"/>
    <ds:schemaRef ds:uri="http://purl.org/dc/dcmitype/"/>
    <ds:schemaRef ds:uri="http://purl.org/dc/elements/1.1/"/>
    <ds:schemaRef ds:uri="http://www.w3.org/XML/1998/namespace"/>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schemas.microsoft.com/office/2006/metadata/properties"/>
  </ds:schemaRefs>
</ds:datastoreItem>
</file>

<file path=docMetadata/LabelInfo.xml><?xml version="1.0" encoding="utf-8"?>
<clbl:labelList xmlns:clbl="http://schemas.microsoft.com/office/2020/mipLabelMetadata">
  <clbl:label id="{1bc0f418-96a4-4caf-9d7c-ccc5ec7f9d91}" enabled="1" method="Privileged" siteId="{e0793d39-0939-496d-b129-198edd916feb}" contentBits="0" removed="0"/>
</clbl:labelList>
</file>

<file path=docProps/app.xml><?xml version="1.0" encoding="utf-8"?>
<Properties xmlns="http://schemas.openxmlformats.org/officeDocument/2006/extended-properties" xmlns:vt="http://schemas.openxmlformats.org/officeDocument/2006/docPropsVTypes">
  <Template>1_Office Theme</Template>
  <TotalTime>1253</TotalTime>
  <Words>4010</Words>
  <Application>Microsoft Office PowerPoint</Application>
  <PresentationFormat>Widescreen</PresentationFormat>
  <Paragraphs>732</Paragraphs>
  <Slides>26</Slides>
  <Notes>9</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26</vt:i4>
      </vt:variant>
    </vt:vector>
  </HeadingPairs>
  <TitlesOfParts>
    <vt:vector size="39" baseType="lpstr">
      <vt:lpstr>Arial</vt:lpstr>
      <vt:lpstr>Calibri</vt:lpstr>
      <vt:lpstr>Calibri Light</vt:lpstr>
      <vt:lpstr>Graphik</vt:lpstr>
      <vt:lpstr>Graphik Black</vt:lpstr>
      <vt:lpstr>Graphik Semibold</vt:lpstr>
      <vt:lpstr>GT Sectra Fine</vt:lpstr>
      <vt:lpstr>GT Sectra Fine Bk</vt:lpstr>
      <vt:lpstr>System Font</vt:lpstr>
      <vt:lpstr>Times New Roman</vt:lpstr>
      <vt:lpstr>Office Theme</vt:lpstr>
      <vt:lpstr>2_Office Theme</vt:lpstr>
      <vt:lpstr>1_Office Theme</vt:lpstr>
      <vt:lpstr>PowerPoint Presentation</vt:lpstr>
      <vt:lpstr>Document control &amp; contacts</vt:lpstr>
      <vt:lpstr>Introducing  Enterprise  Technology  Blueprints</vt:lpstr>
      <vt:lpstr>What is in the Cloud Enterprise Technology Blueprint v1.0?</vt:lpstr>
      <vt:lpstr>Contents</vt:lpstr>
      <vt:lpstr>Logical Application Architecture</vt:lpstr>
      <vt:lpstr>PowerPoint Presentation</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Business Capabilities Reference Architecture  </vt:lpstr>
      <vt:lpstr>Market Leading Software and Platforms</vt:lpstr>
      <vt:lpstr>PowerPoint Presentation</vt:lpstr>
      <vt:lpstr>Disclaimer</vt:lpstr>
    </vt:vector>
  </TitlesOfParts>
  <Manager/>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tkar, Devyani Anil</dc:creator>
  <cp:keywords/>
  <cp:lastModifiedBy>Wadeyar, Suma S.</cp:lastModifiedBy>
  <cp:revision>3</cp:revision>
  <dcterms:created xsi:type="dcterms:W3CDTF">2020-05-15T08:43:00Z</dcterms:created>
  <dcterms:modified xsi:type="dcterms:W3CDTF">2023-11-09T08:06:32Z</dcterms:modified>
  <cp:category/>
  <cp:contentStatus>WIP</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1A8C4A8B721F499652012A5B8F7390</vt:lpwstr>
  </property>
  <property fmtid="{D5CDD505-2E9C-101B-9397-08002B2CF9AE}" pid="3" name="MSIP_Label_1bc0f418-96a4-4caf-9d7c-ccc5ec7f9d91_Enabled">
    <vt:lpwstr>true</vt:lpwstr>
  </property>
  <property fmtid="{D5CDD505-2E9C-101B-9397-08002B2CF9AE}" pid="4" name="MSIP_Label_1bc0f418-96a4-4caf-9d7c-ccc5ec7f9d91_SetDate">
    <vt:lpwstr>2020-11-18T17:29:00Z</vt:lpwstr>
  </property>
  <property fmtid="{D5CDD505-2E9C-101B-9397-08002B2CF9AE}" pid="5" name="MSIP_Label_1bc0f418-96a4-4caf-9d7c-ccc5ec7f9d91_Method">
    <vt:lpwstr>Privileged</vt:lpwstr>
  </property>
  <property fmtid="{D5CDD505-2E9C-101B-9397-08002B2CF9AE}" pid="6" name="MSIP_Label_1bc0f418-96a4-4caf-9d7c-ccc5ec7f9d91_Name">
    <vt:lpwstr>1bc0f418-96a4-4caf-9d7c-ccc5ec7f9d91</vt:lpwstr>
  </property>
  <property fmtid="{D5CDD505-2E9C-101B-9397-08002B2CF9AE}" pid="7" name="MSIP_Label_1bc0f418-96a4-4caf-9d7c-ccc5ec7f9d91_SiteId">
    <vt:lpwstr>e0793d39-0939-496d-b129-198edd916feb</vt:lpwstr>
  </property>
  <property fmtid="{D5CDD505-2E9C-101B-9397-08002B2CF9AE}" pid="8" name="MSIP_Label_1bc0f418-96a4-4caf-9d7c-ccc5ec7f9d91_ActionId">
    <vt:lpwstr>293eab01-689f-48b3-bf36-ce0751d4b9aa</vt:lpwstr>
  </property>
  <property fmtid="{D5CDD505-2E9C-101B-9397-08002B2CF9AE}" pid="9" name="MSIP_Label_1bc0f418-96a4-4caf-9d7c-ccc5ec7f9d91_ContentBits">
    <vt:lpwstr>0</vt:lpwstr>
  </property>
</Properties>
</file>